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notesSlides/notesSlide5.xml" ContentType="application/vnd.openxmlformats-officedocument.presentationml.notesSlide+xml"/>
  <Override PartName="/ppt/comments/comment2.xml" ContentType="application/vnd.openxmlformats-officedocument.presentationml.comments+xml"/>
  <Override PartName="/ppt/notesSlides/notesSlide6.xml" ContentType="application/vnd.openxmlformats-officedocument.presentationml.notesSlide+xml"/>
  <Override PartName="/ppt/comments/comment3.xml" ContentType="application/vnd.openxmlformats-officedocument.presentationml.comment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7" r:id="rId2"/>
    <p:sldMasterId id="2147483719" r:id="rId3"/>
    <p:sldMasterId id="2147483739" r:id="rId4"/>
    <p:sldMasterId id="2147483741" r:id="rId5"/>
  </p:sldMasterIdLst>
  <p:notesMasterIdLst>
    <p:notesMasterId r:id="rId32"/>
  </p:notesMasterIdLst>
  <p:sldIdLst>
    <p:sldId id="257" r:id="rId6"/>
    <p:sldId id="3749" r:id="rId7"/>
    <p:sldId id="4342" r:id="rId8"/>
    <p:sldId id="290" r:id="rId9"/>
    <p:sldId id="4354" r:id="rId10"/>
    <p:sldId id="4285" r:id="rId11"/>
    <p:sldId id="4348" r:id="rId12"/>
    <p:sldId id="4355" r:id="rId13"/>
    <p:sldId id="4356" r:id="rId14"/>
    <p:sldId id="4345" r:id="rId15"/>
    <p:sldId id="4349" r:id="rId16"/>
    <p:sldId id="4286" r:id="rId17"/>
    <p:sldId id="4324" r:id="rId18"/>
    <p:sldId id="4319" r:id="rId19"/>
    <p:sldId id="4332" r:id="rId20"/>
    <p:sldId id="4331" r:id="rId21"/>
    <p:sldId id="4323" r:id="rId22"/>
    <p:sldId id="4326" r:id="rId23"/>
    <p:sldId id="4346" r:id="rId24"/>
    <p:sldId id="270" r:id="rId25"/>
    <p:sldId id="489" r:id="rId26"/>
    <p:sldId id="490" r:id="rId27"/>
    <p:sldId id="4351" r:id="rId28"/>
    <p:sldId id="4357" r:id="rId29"/>
    <p:sldId id="4352" r:id="rId30"/>
    <p:sldId id="4329" r:id="rId31"/>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lumberg, Elicia" initials="BE" lastIdx="24" clrIdx="0"/>
  <p:cmAuthor id="2" name="hp" initials="h" lastIdx="15" clrIdx="1"/>
  <p:cmAuthor id="3" name="AN (NGUYEN THI HANH AN) CV B.TCNS EVN" initials="A(THACBE"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86C2"/>
    <a:srgbClr val="324275"/>
    <a:srgbClr val="70AD47"/>
    <a:srgbClr val="CE4D78"/>
    <a:srgbClr val="3A5C84"/>
    <a:srgbClr val="F39451"/>
    <a:srgbClr val="FAB847"/>
    <a:srgbClr val="58B9D2"/>
    <a:srgbClr val="F7931F"/>
    <a:srgbClr val="4CC1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76" autoAdjust="0"/>
    <p:restoredTop sz="94660"/>
  </p:normalViewPr>
  <p:slideViewPr>
    <p:cSldViewPr snapToGrid="0">
      <p:cViewPr varScale="1">
        <p:scale>
          <a:sx n="79" d="100"/>
          <a:sy n="79" d="100"/>
        </p:scale>
        <p:origin x="893"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9977736291701"/>
          <c:y val="4.8979151079469603E-2"/>
          <c:w val="0.556239514613318"/>
          <c:h val="0.90701674547039302"/>
        </c:manualLayout>
      </c:layout>
      <c:pieChart>
        <c:varyColors val="1"/>
        <c:ser>
          <c:idx val="0"/>
          <c:order val="0"/>
          <c:tx>
            <c:strRef>
              <c:f>Sheet1!$B$1</c:f>
              <c:strCache>
                <c:ptCount val="1"/>
                <c:pt idx="0">
                  <c:v>Column1</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8AB0-47DB-BEAC-4A19A3E2F76C}"/>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8AB0-47DB-BEAC-4A19A3E2F76C}"/>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8AB0-47DB-BEAC-4A19A3E2F76C}"/>
              </c:ext>
            </c:extLst>
          </c:dPt>
          <c:dLbls>
            <c:dLbl>
              <c:idx val="0"/>
              <c:layout>
                <c:manualLayout>
                  <c:x val="-0.19905028413032799"/>
                  <c:y val="-0.175508624701433"/>
                </c:manualLayout>
              </c:layout>
              <c:tx>
                <c:rich>
                  <a:bodyPr/>
                  <a:lstStyle/>
                  <a:p>
                    <a:r>
                      <a:rPr lang="en-US" b="1" dirty="0">
                        <a:solidFill>
                          <a:srgbClr val="FF0000"/>
                        </a:solidFill>
                      </a:rPr>
                      <a:t>79,31%</a:t>
                    </a:r>
                    <a:endParaRPr lang="en-US" baseline="0" dirty="0">
                      <a:solidFill>
                        <a:srgbClr val="FF0000"/>
                      </a:solidFill>
                    </a:endParaRP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8AB0-47DB-BEAC-4A19A3E2F76C}"/>
                </c:ext>
              </c:extLst>
            </c:dLbl>
            <c:dLbl>
              <c:idx val="1"/>
              <c:layout>
                <c:manualLayout>
                  <c:x val="0.13718196954980599"/>
                  <c:y val="0.166325033874032"/>
                </c:manualLayout>
              </c:layout>
              <c:tx>
                <c:rich>
                  <a:bodyPr/>
                  <a:lstStyle/>
                  <a:p>
                    <a:r>
                      <a:rPr lang="en-US" baseline="0" dirty="0">
                        <a:solidFill>
                          <a:srgbClr val="FF0000"/>
                        </a:solidFill>
                      </a:rPr>
                      <a:t> 20,69%</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8AB0-47DB-BEAC-4A19A3E2F76C}"/>
                </c:ext>
              </c:extLst>
            </c:dLbl>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3</c:f>
              <c:strCache>
                <c:ptCount val="2"/>
                <c:pt idx="0">
                  <c:v>Nam</c:v>
                </c:pt>
                <c:pt idx="1">
                  <c:v>Nữ</c:v>
                </c:pt>
              </c:strCache>
            </c:strRef>
          </c:cat>
          <c:val>
            <c:numRef>
              <c:f>Sheet1!$B$2:$B$3</c:f>
              <c:numCache>
                <c:formatCode>#,##0</c:formatCode>
                <c:ptCount val="2"/>
                <c:pt idx="0">
                  <c:v>77452</c:v>
                </c:pt>
                <c:pt idx="1">
                  <c:v>19998</c:v>
                </c:pt>
              </c:numCache>
            </c:numRef>
          </c:val>
          <c:extLst>
            <c:ext xmlns:c16="http://schemas.microsoft.com/office/drawing/2014/chart" uri="{C3380CC4-5D6E-409C-BE32-E72D297353CC}">
              <c16:uniqueId val="{00000006-8AB0-47DB-BEAC-4A19A3E2F76C}"/>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0"/>
        <c:txPr>
          <a:bodyPr rot="0" spcFirstLastPara="1" vertOverflow="ellipsis" vert="horz" wrap="square" anchor="ctr" anchorCtr="1"/>
          <a:lstStyle/>
          <a:p>
            <a:pPr>
              <a:defRPr sz="2000" b="0" i="0" u="none" strike="noStrike" kern="1200" baseline="0">
                <a:solidFill>
                  <a:schemeClr val="accent5">
                    <a:lumMod val="75000"/>
                  </a:schemeClr>
                </a:solidFill>
                <a:latin typeface="Times New Roman" panose="02020603050405020304" pitchFamily="18" charset="0"/>
                <a:ea typeface="+mn-ea"/>
                <a:cs typeface="Times New Roman" panose="02020603050405020304" pitchFamily="18" charset="0"/>
              </a:defRPr>
            </a:pPr>
            <a:endParaRPr lang="vi-VN"/>
          </a:p>
        </c:txPr>
      </c:legendEntry>
      <c:legendEntry>
        <c:idx val="1"/>
        <c:txPr>
          <a:bodyPr rot="0" spcFirstLastPara="1" vertOverflow="ellipsis" vert="horz" wrap="square" anchor="ctr" anchorCtr="1"/>
          <a:lstStyle/>
          <a:p>
            <a:pPr>
              <a:defRPr sz="2000" b="0" i="0" u="none" strike="noStrike" kern="1200" baseline="0">
                <a:solidFill>
                  <a:schemeClr val="accent2">
                    <a:lumMod val="75000"/>
                  </a:schemeClr>
                </a:solidFill>
                <a:latin typeface="Times New Roman" panose="02020603050405020304" pitchFamily="18" charset="0"/>
                <a:ea typeface="+mn-ea"/>
                <a:cs typeface="Times New Roman" panose="02020603050405020304" pitchFamily="18" charset="0"/>
              </a:defRPr>
            </a:pPr>
            <a:endParaRPr lang="vi-VN"/>
          </a:p>
        </c:txPr>
      </c:legendEntry>
      <c:layout>
        <c:manualLayout>
          <c:xMode val="edge"/>
          <c:yMode val="edge"/>
          <c:x val="1.47733579726781E-2"/>
          <c:y val="0.732802661586204"/>
          <c:w val="0.28143053786091798"/>
          <c:h val="0.2282569849925820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legend>
    <c:plotVisOnly val="1"/>
    <c:dispBlanksAs val="gap"/>
    <c:showDLblsOverMax val="0"/>
  </c:chart>
  <c:spPr>
    <a:noFill/>
    <a:ln>
      <a:noFill/>
    </a:ln>
    <a:effectLst/>
  </c:spPr>
  <c:txPr>
    <a:bodyPr/>
    <a:lstStyle/>
    <a:p>
      <a:pPr>
        <a:defRPr sz="20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C$32</c:f>
              <c:strCache>
                <c:ptCount val="1"/>
                <c:pt idx="0">
                  <c:v>Qui hoạch</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Lbls>
            <c:dLbl>
              <c:idx val="0"/>
              <c:layout>
                <c:manualLayout>
                  <c:x val="-2.53836390908042E-2"/>
                  <c:y val="-3.91926317852243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A7-44AE-93AE-CEE168C5C512}"/>
                </c:ext>
              </c:extLst>
            </c:dLbl>
            <c:dLbl>
              <c:idx val="1"/>
              <c:layout>
                <c:manualLayout>
                  <c:x val="-2.30760355370947E-2"/>
                  <c:y val="-4.70311581422692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A7-44AE-93AE-CEE168C5C512}"/>
                </c:ext>
              </c:extLst>
            </c:dLbl>
            <c:spPr>
              <a:noFill/>
              <a:ln>
                <a:noFill/>
              </a:ln>
              <a:effectLst/>
            </c:spPr>
            <c:txPr>
              <a:bodyPr rot="0" spcFirstLastPara="1" vertOverflow="ellipsis" vert="horz" wrap="square" anchor="ctr" anchorCtr="1"/>
              <a:lstStyle/>
              <a:p>
                <a:pPr>
                  <a:defRPr sz="200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31:$E$31</c:f>
              <c:strCache>
                <c:ptCount val="2"/>
                <c:pt idx="0">
                  <c:v>Nữ lãnh đạo đơn vị cấp 3</c:v>
                </c:pt>
                <c:pt idx="1">
                  <c:v>Nữ cán bộ quản lý</c:v>
                </c:pt>
              </c:strCache>
            </c:strRef>
          </c:cat>
          <c:val>
            <c:numRef>
              <c:f>Sheet1!$D$32:$E$32</c:f>
              <c:numCache>
                <c:formatCode>0%</c:formatCode>
                <c:ptCount val="2"/>
                <c:pt idx="0">
                  <c:v>0.12</c:v>
                </c:pt>
                <c:pt idx="1">
                  <c:v>0.1</c:v>
                </c:pt>
              </c:numCache>
            </c:numRef>
          </c:val>
          <c:shape val="cylinder"/>
          <c:extLst>
            <c:ext xmlns:c16="http://schemas.microsoft.com/office/drawing/2014/chart" uri="{C3380CC4-5D6E-409C-BE32-E72D297353CC}">
              <c16:uniqueId val="{00000002-E5A7-44AE-93AE-CEE168C5C512}"/>
            </c:ext>
          </c:extLst>
        </c:ser>
        <c:ser>
          <c:idx val="1"/>
          <c:order val="1"/>
          <c:tx>
            <c:strRef>
              <c:f>Sheet1!$C$33</c:f>
              <c:strCache>
                <c:ptCount val="1"/>
                <c:pt idx="0">
                  <c:v>Thực tế</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p3d/>
          </c:spPr>
          <c:invertIfNegative val="0"/>
          <c:dLbls>
            <c:dLbl>
              <c:idx val="0"/>
              <c:layout>
                <c:manualLayout>
                  <c:x val="4.1536863966770497E-2"/>
                  <c:y val="-5.0950421320791701E-2"/>
                </c:manualLayout>
              </c:layout>
              <c:tx>
                <c:rich>
                  <a:bodyPr/>
                  <a:lstStyle/>
                  <a:p>
                    <a:r>
                      <a:rPr lang="en-US" dirty="0"/>
                      <a:t>13,05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5A7-44AE-93AE-CEE168C5C512}"/>
                </c:ext>
              </c:extLst>
            </c:dLbl>
            <c:dLbl>
              <c:idx val="1"/>
              <c:layout>
                <c:manualLayout>
                  <c:x val="2.30760355370946E-2"/>
                  <c:y val="-4.311189496374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A7-44AE-93AE-CEE168C5C512}"/>
                </c:ext>
              </c:extLst>
            </c:dLbl>
            <c:spPr>
              <a:noFill/>
              <a:ln>
                <a:noFill/>
              </a:ln>
              <a:effectLst/>
            </c:spPr>
            <c:txPr>
              <a:bodyPr rot="0" spcFirstLastPara="1" vertOverflow="ellipsis" vert="horz" wrap="square" anchor="ctr" anchorCtr="1"/>
              <a:lstStyle/>
              <a:p>
                <a:pPr>
                  <a:defRPr sz="2000" b="1" i="0" u="none" strike="noStrike" kern="1200" baseline="0">
                    <a:solidFill>
                      <a:schemeClr val="accent2"/>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31:$E$31</c:f>
              <c:strCache>
                <c:ptCount val="2"/>
                <c:pt idx="0">
                  <c:v>Nữ lãnh đạo đơn vị cấp 3</c:v>
                </c:pt>
                <c:pt idx="1">
                  <c:v>Nữ cán bộ quản lý</c:v>
                </c:pt>
              </c:strCache>
            </c:strRef>
          </c:cat>
          <c:val>
            <c:numRef>
              <c:f>Sheet1!$D$33:$E$33</c:f>
              <c:numCache>
                <c:formatCode>0.00%</c:formatCode>
                <c:ptCount val="2"/>
                <c:pt idx="0">
                  <c:v>0.12920000000000001</c:v>
                </c:pt>
                <c:pt idx="1">
                  <c:v>9.8599999999999993E-2</c:v>
                </c:pt>
              </c:numCache>
            </c:numRef>
          </c:val>
          <c:extLst>
            <c:ext xmlns:c16="http://schemas.microsoft.com/office/drawing/2014/chart" uri="{C3380CC4-5D6E-409C-BE32-E72D297353CC}">
              <c16:uniqueId val="{00000005-E5A7-44AE-93AE-CEE168C5C512}"/>
            </c:ext>
          </c:extLst>
        </c:ser>
        <c:dLbls>
          <c:showLegendKey val="0"/>
          <c:showVal val="0"/>
          <c:showCatName val="0"/>
          <c:showSerName val="0"/>
          <c:showPercent val="0"/>
          <c:showBubbleSize val="0"/>
        </c:dLbls>
        <c:gapWidth val="150"/>
        <c:shape val="box"/>
        <c:axId val="-989379408"/>
        <c:axId val="-989374608"/>
        <c:axId val="0"/>
      </c:bar3DChart>
      <c:catAx>
        <c:axId val="-98937940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crossAx val="-989374608"/>
        <c:crosses val="autoZero"/>
        <c:auto val="1"/>
        <c:lblAlgn val="ctr"/>
        <c:lblOffset val="100"/>
        <c:noMultiLvlLbl val="0"/>
      </c:catAx>
      <c:valAx>
        <c:axId val="-9893746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accent6"/>
                </a:solidFill>
                <a:latin typeface="Times New Roman" panose="02020603050405020304" pitchFamily="18" charset="0"/>
                <a:ea typeface="+mn-ea"/>
                <a:cs typeface="Times New Roman" panose="02020603050405020304" pitchFamily="18" charset="0"/>
              </a:defRPr>
            </a:pPr>
            <a:endParaRPr lang="vi-VN"/>
          </a:p>
        </c:txPr>
        <c:crossAx val="-98937940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2000" b="1" i="0" u="none" strike="noStrike" kern="1200" baseline="0">
                <a:solidFill>
                  <a:schemeClr val="accent1"/>
                </a:solidFill>
                <a:latin typeface="Times New Roman" panose="02020603050405020304" pitchFamily="18" charset="0"/>
                <a:ea typeface="+mn-ea"/>
                <a:cs typeface="Times New Roman" panose="02020603050405020304" pitchFamily="18" charset="0"/>
              </a:defRPr>
            </a:pPr>
            <a:endParaRPr lang="vi-VN"/>
          </a:p>
        </c:txPr>
      </c:legendEntry>
      <c:legendEntry>
        <c:idx val="1"/>
        <c:txPr>
          <a:bodyPr rot="0" spcFirstLastPara="1" vertOverflow="ellipsis" vert="horz" wrap="square" anchor="ctr" anchorCtr="1"/>
          <a:lstStyle/>
          <a:p>
            <a:pPr>
              <a:defRPr sz="2000" b="1" i="0" u="none" strike="noStrike" kern="1200" baseline="0">
                <a:solidFill>
                  <a:schemeClr val="accent2"/>
                </a:solidFill>
                <a:latin typeface="Times New Roman" panose="02020603050405020304" pitchFamily="18" charset="0"/>
                <a:ea typeface="+mn-ea"/>
                <a:cs typeface="Times New Roman" panose="02020603050405020304" pitchFamily="18" charset="0"/>
              </a:defRPr>
            </a:pPr>
            <a:endParaRPr lang="vi-VN"/>
          </a:p>
        </c:txPr>
      </c:legendEntry>
      <c:layout>
        <c:manualLayout>
          <c:xMode val="edge"/>
          <c:yMode val="edge"/>
          <c:x val="0.82063092931947601"/>
          <c:y val="0.77117601728312601"/>
          <c:w val="0.17713354286272501"/>
          <c:h val="0.219240243543943"/>
        </c:manualLayout>
      </c:layout>
      <c:overlay val="1"/>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9977736291701"/>
          <c:y val="4.8979151079469603E-2"/>
          <c:w val="0.556239514613318"/>
          <c:h val="0.9070167454703930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1.47733579726781E-2"/>
          <c:y val="0.732802661586204"/>
          <c:w val="0.28143053786091798"/>
          <c:h val="0.2282569849925820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legend>
    <c:plotVisOnly val="1"/>
    <c:dispBlanksAs val="zero"/>
    <c:showDLblsOverMax val="0"/>
  </c:chart>
  <c:spPr>
    <a:noFill/>
    <a:ln>
      <a:noFill/>
    </a:ln>
    <a:effectLst/>
  </c:spPr>
  <c:txPr>
    <a:bodyPr/>
    <a:lstStyle/>
    <a:p>
      <a:pPr>
        <a:defRPr sz="20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997773629174"/>
          <c:y val="4.8979151079469631E-2"/>
          <c:w val="0.556239514613318"/>
          <c:h val="0.90701674547039257"/>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1.477335797267808E-2"/>
          <c:y val="0.73280266158620455"/>
          <c:w val="0.28143053786091798"/>
          <c:h val="0.2282569849925824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legend>
    <c:plotVisOnly val="1"/>
    <c:dispBlanksAs val="zero"/>
    <c:showDLblsOverMax val="0"/>
  </c:chart>
  <c:spPr>
    <a:noFill/>
    <a:ln>
      <a:noFill/>
    </a:ln>
    <a:effectLst/>
  </c:spPr>
  <c:txPr>
    <a:bodyPr/>
    <a:lstStyle/>
    <a:p>
      <a:pPr>
        <a:defRPr sz="20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1997773629174"/>
          <c:y val="4.8979151079469631E-2"/>
          <c:w val="0.556239514613318"/>
          <c:h val="0.90701674547039257"/>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1.477335797267808E-2"/>
          <c:y val="0.73280266158620455"/>
          <c:w val="0.28143053786091798"/>
          <c:h val="0.2282569849925824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legend>
    <c:plotVisOnly val="1"/>
    <c:dispBlanksAs val="zero"/>
    <c:showDLblsOverMax val="0"/>
  </c:chart>
  <c:spPr>
    <a:noFill/>
    <a:ln>
      <a:noFill/>
    </a:ln>
    <a:effectLst/>
  </c:spPr>
  <c:txPr>
    <a:bodyPr/>
    <a:lstStyle/>
    <a:p>
      <a:pPr>
        <a:defRPr sz="20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8-30T13:52:00.257" idx="2">
    <p:pos x="10" y="10"/>
    <p:text>For the expected benefits, I encourage the team to think about what existing data you might have to substantiate these hypotheses. If data does not exist yet, what data might you propose to collect?</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8-30T13:52:00.257" idx="2">
    <p:pos x="10" y="10"/>
    <p:text>For the expected benefits, I encourage the team to think about what existing data you might have to substantiate these hypotheses. If data does not exist yet, what data might you propose to collect?</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8-30T18:41:31.706" idx="23">
    <p:pos x="10" y="10"/>
    <p:text>It is not clear from this slide whether the team is describing existing programs, or something which is recommended by the team to improve or initiate....</p:text>
    <p:extLst>
      <p:ext uri="{C676402C-5697-4E1C-873F-D02D1690AC5C}">
        <p15:threadingInfo xmlns:p15="http://schemas.microsoft.com/office/powerpoint/2012/main" timeZoneBias="24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69A11E5-9C89-4593-8BD7-23EB9DA195D4}" type="datetimeFigureOut">
              <a:rPr lang="en-US" smtClean="0"/>
              <a:t>3/5/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69E720D5-8203-4536-9BF1-F54C6BD65A0F}" type="slidenum">
              <a:rPr lang="en-US" smtClean="0"/>
              <a:t>‹#›</a:t>
            </a:fld>
            <a:endParaRPr lang="en-US"/>
          </a:p>
        </p:txBody>
      </p:sp>
    </p:spTree>
    <p:extLst>
      <p:ext uri="{BB962C8B-B14F-4D97-AF65-F5344CB8AC3E}">
        <p14:creationId xmlns:p14="http://schemas.microsoft.com/office/powerpoint/2010/main" val="3288180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2CEE9-F96A-4808-8803-FFC97D5AB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524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1. quality: </a:t>
            </a:r>
            <a:r>
              <a:rPr lang="en-US" b="1" dirty="0" err="1"/>
              <a:t>LĐ</a:t>
            </a:r>
            <a:r>
              <a:rPr lang="en-US" b="1" dirty="0"/>
              <a:t> </a:t>
            </a:r>
            <a:r>
              <a:rPr lang="en-US" b="1" dirty="0" err="1"/>
              <a:t>nữ</a:t>
            </a:r>
            <a:r>
              <a:rPr lang="en-US" b="1" dirty="0"/>
              <a:t> </a:t>
            </a:r>
            <a:r>
              <a:rPr lang="en-US" b="1" dirty="0" err="1"/>
              <a:t>từ</a:t>
            </a:r>
            <a:r>
              <a:rPr lang="en-US" b="1" dirty="0"/>
              <a:t> 12,9% -&gt; 15% </a:t>
            </a:r>
          </a:p>
          <a:p>
            <a:r>
              <a:rPr lang="en-US" dirty="0"/>
              <a:t>2. </a:t>
            </a:r>
            <a:r>
              <a:rPr lang="en-US" b="1" dirty="0">
                <a:highlight>
                  <a:srgbClr val="FFFF00"/>
                </a:highlight>
              </a:rPr>
              <a:t>view, interact, </a:t>
            </a:r>
            <a:r>
              <a:rPr lang="en-GB" sz="1200" b="1" dirty="0">
                <a:solidFill>
                  <a:schemeClr val="accent1"/>
                </a:solidFill>
              </a:rPr>
              <a:t>Take more care of workers’ children in various forms</a:t>
            </a:r>
            <a:endParaRPr lang="en-US" b="1" dirty="0">
              <a:highlight>
                <a:srgbClr val="FFFF00"/>
              </a:highlight>
            </a:endParaRPr>
          </a:p>
          <a:p>
            <a:r>
              <a:rPr lang="en-US" b="1" dirty="0">
                <a:highlight>
                  <a:srgbClr val="FFFF00"/>
                </a:highlight>
              </a:rPr>
              <a:t>3. </a:t>
            </a:r>
            <a:r>
              <a:rPr lang="en-US" b="1" dirty="0" err="1"/>
              <a:t>EVN</a:t>
            </a:r>
            <a:r>
              <a:rPr lang="en-US" b="1" dirty="0"/>
              <a:t> master plan (forced 15% </a:t>
            </a:r>
            <a:r>
              <a:rPr lang="en-US" b="1" dirty="0" err="1"/>
              <a:t>nữ</a:t>
            </a:r>
            <a:r>
              <a:rPr lang="en-US" b="1" dirty="0"/>
              <a:t> </a:t>
            </a:r>
            <a:r>
              <a:rPr lang="en-US" b="1" dirty="0" err="1"/>
              <a:t>quản</a:t>
            </a:r>
            <a:r>
              <a:rPr lang="en-US" b="1" dirty="0"/>
              <a:t> </a:t>
            </a:r>
            <a:r>
              <a:rPr lang="en-US" b="1" dirty="0" err="1"/>
              <a:t>lý</a:t>
            </a:r>
            <a:r>
              <a:rPr lang="en-US" b="1" dirty="0"/>
              <a:t>), </a:t>
            </a:r>
            <a:r>
              <a:rPr lang="en-US" b="1" dirty="0" err="1"/>
              <a:t>sự</a:t>
            </a:r>
            <a:r>
              <a:rPr lang="en-US" b="1" dirty="0"/>
              <a:t> </a:t>
            </a:r>
            <a:r>
              <a:rPr lang="en-US" b="1" dirty="0" err="1"/>
              <a:t>quan</a:t>
            </a:r>
            <a:r>
              <a:rPr lang="en-US" b="1" dirty="0"/>
              <a:t> </a:t>
            </a:r>
            <a:r>
              <a:rPr lang="en-US" b="1" dirty="0" err="1"/>
              <a:t>tâm</a:t>
            </a:r>
            <a:r>
              <a:rPr lang="en-US" b="1" dirty="0"/>
              <a:t> &amp; </a:t>
            </a:r>
            <a:r>
              <a:rPr lang="en-US" b="1" dirty="0" err="1"/>
              <a:t>thực</a:t>
            </a:r>
            <a:r>
              <a:rPr lang="en-US" b="1" dirty="0"/>
              <a:t> </a:t>
            </a:r>
            <a:r>
              <a:rPr lang="en-US" b="1" dirty="0" err="1"/>
              <a:t>thi</a:t>
            </a:r>
            <a:r>
              <a:rPr lang="en-US" b="1" dirty="0"/>
              <a:t> </a:t>
            </a:r>
            <a:r>
              <a:rPr lang="en-US" b="1" dirty="0" err="1"/>
              <a:t>của</a:t>
            </a:r>
            <a:r>
              <a:rPr lang="en-US" b="1" dirty="0"/>
              <a:t> </a:t>
            </a:r>
            <a:r>
              <a:rPr lang="en-US" b="1" dirty="0" err="1"/>
              <a:t>LÃnh</a:t>
            </a:r>
            <a:r>
              <a:rPr lang="en-US" b="1" dirty="0"/>
              <a:t> </a:t>
            </a:r>
            <a:r>
              <a:rPr lang="en-US" b="1" dirty="0" err="1"/>
              <a:t>đạo</a:t>
            </a:r>
            <a:r>
              <a:rPr lang="en-US" b="1" dirty="0"/>
              <a:t> </a:t>
            </a:r>
            <a:r>
              <a:rPr lang="en-US" b="1" dirty="0" err="1"/>
              <a:t>các</a:t>
            </a:r>
            <a:r>
              <a:rPr lang="en-US" b="1" dirty="0"/>
              <a:t> </a:t>
            </a:r>
            <a:r>
              <a:rPr lang="en-US" b="1" dirty="0" err="1"/>
              <a:t>đơn</a:t>
            </a:r>
            <a:r>
              <a:rPr lang="en-US" b="1" dirty="0"/>
              <a:t> </a:t>
            </a:r>
            <a:r>
              <a:rPr lang="en-US" b="1" dirty="0" err="1"/>
              <a:t>vị</a:t>
            </a:r>
            <a:r>
              <a:rPr lang="en-US" b="1" dirty="0"/>
              <a:t> </a:t>
            </a:r>
            <a:r>
              <a:rPr lang="en-US" b="1" dirty="0" err="1"/>
              <a:t>thành</a:t>
            </a:r>
            <a:r>
              <a:rPr lang="en-US" b="1" dirty="0"/>
              <a:t> </a:t>
            </a:r>
            <a:r>
              <a:rPr lang="en-US" b="1" dirty="0" err="1"/>
              <a:t>viên</a:t>
            </a:r>
            <a:r>
              <a:rPr lang="en-US" b="1"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endParaRPr lang="en-US" dirty="0"/>
          </a:p>
        </p:txBody>
      </p:sp>
      <p:sp>
        <p:nvSpPr>
          <p:cNvPr id="4" name="Slide Number Placeholder 3"/>
          <p:cNvSpPr>
            <a:spLocks noGrp="1"/>
          </p:cNvSpPr>
          <p:nvPr>
            <p:ph type="sldNum" sz="quarter" idx="5"/>
          </p:nvPr>
        </p:nvSpPr>
        <p:spPr/>
        <p:txBody>
          <a:bodyPr/>
          <a:lstStyle/>
          <a:p>
            <a:fld id="{63AD896D-67B8-4E03-98DA-14B9F07ADB7F}" type="slidenum">
              <a:rPr lang="en-US" smtClean="0"/>
              <a:t>23</a:t>
            </a:fld>
            <a:endParaRPr lang="en-US"/>
          </a:p>
        </p:txBody>
      </p:sp>
    </p:spTree>
    <p:extLst>
      <p:ext uri="{BB962C8B-B14F-4D97-AF65-F5344CB8AC3E}">
        <p14:creationId xmlns:p14="http://schemas.microsoft.com/office/powerpoint/2010/main" val="4135479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1. quality: </a:t>
            </a:r>
            <a:r>
              <a:rPr lang="en-US" b="1" dirty="0" err="1"/>
              <a:t>LĐ</a:t>
            </a:r>
            <a:r>
              <a:rPr lang="en-US" b="1" dirty="0"/>
              <a:t> </a:t>
            </a:r>
            <a:r>
              <a:rPr lang="en-US" b="1" dirty="0" err="1"/>
              <a:t>nữ</a:t>
            </a:r>
            <a:r>
              <a:rPr lang="en-US" b="1" dirty="0"/>
              <a:t> </a:t>
            </a:r>
            <a:r>
              <a:rPr lang="en-US" b="1" dirty="0" err="1"/>
              <a:t>từ</a:t>
            </a:r>
            <a:r>
              <a:rPr lang="en-US" b="1" dirty="0"/>
              <a:t> 12,9% -&gt; 15% </a:t>
            </a:r>
          </a:p>
          <a:p>
            <a:r>
              <a:rPr lang="en-US" dirty="0"/>
              <a:t>2. </a:t>
            </a:r>
            <a:r>
              <a:rPr lang="en-US" b="1" dirty="0">
                <a:highlight>
                  <a:srgbClr val="FFFF00"/>
                </a:highlight>
              </a:rPr>
              <a:t>view, interact, </a:t>
            </a:r>
            <a:r>
              <a:rPr lang="en-GB" sz="1200" b="1" dirty="0">
                <a:solidFill>
                  <a:schemeClr val="accent1"/>
                </a:solidFill>
              </a:rPr>
              <a:t>Take more care of workers’ children in various forms</a:t>
            </a:r>
            <a:endParaRPr lang="en-US" b="1" dirty="0">
              <a:highlight>
                <a:srgbClr val="FFFF00"/>
              </a:highlight>
            </a:endParaRPr>
          </a:p>
          <a:p>
            <a:r>
              <a:rPr lang="en-US" b="1" dirty="0">
                <a:highlight>
                  <a:srgbClr val="FFFF00"/>
                </a:highlight>
              </a:rPr>
              <a:t>3. </a:t>
            </a:r>
            <a:r>
              <a:rPr lang="en-US" b="1" dirty="0" err="1"/>
              <a:t>EVN</a:t>
            </a:r>
            <a:r>
              <a:rPr lang="en-US" b="1" dirty="0"/>
              <a:t> master plan (forced 15% </a:t>
            </a:r>
            <a:r>
              <a:rPr lang="en-US" b="1" dirty="0" err="1"/>
              <a:t>nữ</a:t>
            </a:r>
            <a:r>
              <a:rPr lang="en-US" b="1" dirty="0"/>
              <a:t> </a:t>
            </a:r>
            <a:r>
              <a:rPr lang="en-US" b="1" dirty="0" err="1"/>
              <a:t>quản</a:t>
            </a:r>
            <a:r>
              <a:rPr lang="en-US" b="1" dirty="0"/>
              <a:t> </a:t>
            </a:r>
            <a:r>
              <a:rPr lang="en-US" b="1" dirty="0" err="1"/>
              <a:t>lý</a:t>
            </a:r>
            <a:r>
              <a:rPr lang="en-US" b="1" dirty="0"/>
              <a:t>), </a:t>
            </a:r>
            <a:r>
              <a:rPr lang="en-US" b="1" dirty="0" err="1"/>
              <a:t>sự</a:t>
            </a:r>
            <a:r>
              <a:rPr lang="en-US" b="1" dirty="0"/>
              <a:t> </a:t>
            </a:r>
            <a:r>
              <a:rPr lang="en-US" b="1" dirty="0" err="1"/>
              <a:t>quan</a:t>
            </a:r>
            <a:r>
              <a:rPr lang="en-US" b="1" dirty="0"/>
              <a:t> </a:t>
            </a:r>
            <a:r>
              <a:rPr lang="en-US" b="1" dirty="0" err="1"/>
              <a:t>tâm</a:t>
            </a:r>
            <a:r>
              <a:rPr lang="en-US" b="1" dirty="0"/>
              <a:t> &amp; </a:t>
            </a:r>
            <a:r>
              <a:rPr lang="en-US" b="1" dirty="0" err="1"/>
              <a:t>thực</a:t>
            </a:r>
            <a:r>
              <a:rPr lang="en-US" b="1" dirty="0"/>
              <a:t> </a:t>
            </a:r>
            <a:r>
              <a:rPr lang="en-US" b="1" dirty="0" err="1"/>
              <a:t>thi</a:t>
            </a:r>
            <a:r>
              <a:rPr lang="en-US" b="1" dirty="0"/>
              <a:t> </a:t>
            </a:r>
            <a:r>
              <a:rPr lang="en-US" b="1" dirty="0" err="1"/>
              <a:t>của</a:t>
            </a:r>
            <a:r>
              <a:rPr lang="en-US" b="1" dirty="0"/>
              <a:t> </a:t>
            </a:r>
            <a:r>
              <a:rPr lang="en-US" b="1" dirty="0" err="1"/>
              <a:t>LÃnh</a:t>
            </a:r>
            <a:r>
              <a:rPr lang="en-US" b="1" dirty="0"/>
              <a:t> </a:t>
            </a:r>
            <a:r>
              <a:rPr lang="en-US" b="1" dirty="0" err="1"/>
              <a:t>đạo</a:t>
            </a:r>
            <a:r>
              <a:rPr lang="en-US" b="1" dirty="0"/>
              <a:t> </a:t>
            </a:r>
            <a:r>
              <a:rPr lang="en-US" b="1" dirty="0" err="1"/>
              <a:t>các</a:t>
            </a:r>
            <a:r>
              <a:rPr lang="en-US" b="1" dirty="0"/>
              <a:t> </a:t>
            </a:r>
            <a:r>
              <a:rPr lang="en-US" b="1" dirty="0" err="1"/>
              <a:t>đơn</a:t>
            </a:r>
            <a:r>
              <a:rPr lang="en-US" b="1" dirty="0"/>
              <a:t> </a:t>
            </a:r>
            <a:r>
              <a:rPr lang="en-US" b="1" dirty="0" err="1"/>
              <a:t>vị</a:t>
            </a:r>
            <a:r>
              <a:rPr lang="en-US" b="1" dirty="0"/>
              <a:t> </a:t>
            </a:r>
            <a:r>
              <a:rPr lang="en-US" b="1" dirty="0" err="1"/>
              <a:t>thành</a:t>
            </a:r>
            <a:r>
              <a:rPr lang="en-US" b="1" dirty="0"/>
              <a:t> </a:t>
            </a:r>
            <a:r>
              <a:rPr lang="en-US" b="1" dirty="0" err="1"/>
              <a:t>viên</a:t>
            </a:r>
            <a:r>
              <a:rPr lang="en-US" b="1"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endParaRPr lang="en-US" dirty="0"/>
          </a:p>
        </p:txBody>
      </p:sp>
      <p:sp>
        <p:nvSpPr>
          <p:cNvPr id="4" name="Slide Number Placeholder 3"/>
          <p:cNvSpPr>
            <a:spLocks noGrp="1"/>
          </p:cNvSpPr>
          <p:nvPr>
            <p:ph type="sldNum" sz="quarter" idx="5"/>
          </p:nvPr>
        </p:nvSpPr>
        <p:spPr/>
        <p:txBody>
          <a:bodyPr/>
          <a:lstStyle/>
          <a:p>
            <a:fld id="{63AD896D-67B8-4E03-98DA-14B9F07ADB7F}" type="slidenum">
              <a:rPr lang="en-US" smtClean="0"/>
              <a:t>24</a:t>
            </a:fld>
            <a:endParaRPr lang="en-US"/>
          </a:p>
        </p:txBody>
      </p:sp>
    </p:spTree>
    <p:extLst>
      <p:ext uri="{BB962C8B-B14F-4D97-AF65-F5344CB8AC3E}">
        <p14:creationId xmlns:p14="http://schemas.microsoft.com/office/powerpoint/2010/main" val="787740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1. quality: </a:t>
            </a:r>
            <a:r>
              <a:rPr lang="en-US" b="1" dirty="0" err="1"/>
              <a:t>LĐ</a:t>
            </a:r>
            <a:r>
              <a:rPr lang="en-US" b="1" dirty="0"/>
              <a:t> </a:t>
            </a:r>
            <a:r>
              <a:rPr lang="en-US" b="1" dirty="0" err="1"/>
              <a:t>nữ</a:t>
            </a:r>
            <a:r>
              <a:rPr lang="en-US" b="1" dirty="0"/>
              <a:t> </a:t>
            </a:r>
            <a:r>
              <a:rPr lang="en-US" b="1" dirty="0" err="1"/>
              <a:t>từ</a:t>
            </a:r>
            <a:r>
              <a:rPr lang="en-US" b="1" dirty="0"/>
              <a:t> 12,9% -&gt; 15% </a:t>
            </a:r>
          </a:p>
          <a:p>
            <a:r>
              <a:rPr lang="en-US" dirty="0"/>
              <a:t>2. </a:t>
            </a:r>
            <a:r>
              <a:rPr lang="en-US" b="1" dirty="0">
                <a:highlight>
                  <a:srgbClr val="FFFF00"/>
                </a:highlight>
              </a:rPr>
              <a:t>view, interact, </a:t>
            </a:r>
            <a:r>
              <a:rPr lang="en-GB" sz="1200" b="1" dirty="0">
                <a:solidFill>
                  <a:schemeClr val="accent1"/>
                </a:solidFill>
              </a:rPr>
              <a:t>Take more care of workers’ children in various forms</a:t>
            </a:r>
            <a:endParaRPr lang="en-US" b="1" dirty="0">
              <a:highlight>
                <a:srgbClr val="FFFF00"/>
              </a:highlight>
            </a:endParaRPr>
          </a:p>
          <a:p>
            <a:r>
              <a:rPr lang="en-US" b="1" dirty="0">
                <a:highlight>
                  <a:srgbClr val="FFFF00"/>
                </a:highlight>
              </a:rPr>
              <a:t>3. </a:t>
            </a:r>
            <a:r>
              <a:rPr lang="en-US" b="1" dirty="0" err="1"/>
              <a:t>EVN</a:t>
            </a:r>
            <a:r>
              <a:rPr lang="en-US" b="1" dirty="0"/>
              <a:t> master plan (forced 15% </a:t>
            </a:r>
            <a:r>
              <a:rPr lang="en-US" b="1" dirty="0" err="1"/>
              <a:t>nữ</a:t>
            </a:r>
            <a:r>
              <a:rPr lang="en-US" b="1" dirty="0"/>
              <a:t> </a:t>
            </a:r>
            <a:r>
              <a:rPr lang="en-US" b="1" dirty="0" err="1"/>
              <a:t>quản</a:t>
            </a:r>
            <a:r>
              <a:rPr lang="en-US" b="1" dirty="0"/>
              <a:t> </a:t>
            </a:r>
            <a:r>
              <a:rPr lang="en-US" b="1" dirty="0" err="1"/>
              <a:t>lý</a:t>
            </a:r>
            <a:r>
              <a:rPr lang="en-US" b="1" dirty="0"/>
              <a:t>), </a:t>
            </a:r>
            <a:r>
              <a:rPr lang="en-US" b="1" dirty="0" err="1"/>
              <a:t>sự</a:t>
            </a:r>
            <a:r>
              <a:rPr lang="en-US" b="1" dirty="0"/>
              <a:t> </a:t>
            </a:r>
            <a:r>
              <a:rPr lang="en-US" b="1" dirty="0" err="1"/>
              <a:t>quan</a:t>
            </a:r>
            <a:r>
              <a:rPr lang="en-US" b="1" dirty="0"/>
              <a:t> </a:t>
            </a:r>
            <a:r>
              <a:rPr lang="en-US" b="1" dirty="0" err="1"/>
              <a:t>tâm</a:t>
            </a:r>
            <a:r>
              <a:rPr lang="en-US" b="1" dirty="0"/>
              <a:t> &amp; </a:t>
            </a:r>
            <a:r>
              <a:rPr lang="en-US" b="1" dirty="0" err="1"/>
              <a:t>thực</a:t>
            </a:r>
            <a:r>
              <a:rPr lang="en-US" b="1" dirty="0"/>
              <a:t> </a:t>
            </a:r>
            <a:r>
              <a:rPr lang="en-US" b="1" dirty="0" err="1"/>
              <a:t>thi</a:t>
            </a:r>
            <a:r>
              <a:rPr lang="en-US" b="1" dirty="0"/>
              <a:t> </a:t>
            </a:r>
            <a:r>
              <a:rPr lang="en-US" b="1" dirty="0" err="1"/>
              <a:t>của</a:t>
            </a:r>
            <a:r>
              <a:rPr lang="en-US" b="1" dirty="0"/>
              <a:t> </a:t>
            </a:r>
            <a:r>
              <a:rPr lang="en-US" b="1" dirty="0" err="1"/>
              <a:t>LÃnh</a:t>
            </a:r>
            <a:r>
              <a:rPr lang="en-US" b="1" dirty="0"/>
              <a:t> </a:t>
            </a:r>
            <a:r>
              <a:rPr lang="en-US" b="1" dirty="0" err="1"/>
              <a:t>đạo</a:t>
            </a:r>
            <a:r>
              <a:rPr lang="en-US" b="1" dirty="0"/>
              <a:t> </a:t>
            </a:r>
            <a:r>
              <a:rPr lang="en-US" b="1" dirty="0" err="1"/>
              <a:t>các</a:t>
            </a:r>
            <a:r>
              <a:rPr lang="en-US" b="1" dirty="0"/>
              <a:t> </a:t>
            </a:r>
            <a:r>
              <a:rPr lang="en-US" b="1" dirty="0" err="1"/>
              <a:t>đơn</a:t>
            </a:r>
            <a:r>
              <a:rPr lang="en-US" b="1" dirty="0"/>
              <a:t> </a:t>
            </a:r>
            <a:r>
              <a:rPr lang="en-US" b="1" dirty="0" err="1"/>
              <a:t>vị</a:t>
            </a:r>
            <a:r>
              <a:rPr lang="en-US" b="1" dirty="0"/>
              <a:t> </a:t>
            </a:r>
            <a:r>
              <a:rPr lang="en-US" b="1" dirty="0" err="1"/>
              <a:t>thành</a:t>
            </a:r>
            <a:r>
              <a:rPr lang="en-US" b="1" dirty="0"/>
              <a:t> </a:t>
            </a:r>
            <a:r>
              <a:rPr lang="en-US" b="1" dirty="0" err="1"/>
              <a:t>viên</a:t>
            </a:r>
            <a:r>
              <a:rPr lang="en-US" b="1"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endParaRPr lang="en-US" dirty="0"/>
          </a:p>
        </p:txBody>
      </p:sp>
      <p:sp>
        <p:nvSpPr>
          <p:cNvPr id="4" name="Slide Number Placeholder 3"/>
          <p:cNvSpPr>
            <a:spLocks noGrp="1"/>
          </p:cNvSpPr>
          <p:nvPr>
            <p:ph type="sldNum" sz="quarter" idx="5"/>
          </p:nvPr>
        </p:nvSpPr>
        <p:spPr/>
        <p:txBody>
          <a:bodyPr/>
          <a:lstStyle/>
          <a:p>
            <a:fld id="{63AD896D-67B8-4E03-98DA-14B9F07ADB7F}" type="slidenum">
              <a:rPr lang="en-US" smtClean="0"/>
              <a:t>25</a:t>
            </a:fld>
            <a:endParaRPr lang="en-US"/>
          </a:p>
        </p:txBody>
      </p:sp>
    </p:spTree>
    <p:extLst>
      <p:ext uri="{BB962C8B-B14F-4D97-AF65-F5344CB8AC3E}">
        <p14:creationId xmlns:p14="http://schemas.microsoft.com/office/powerpoint/2010/main" val="2655050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13970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2CEE9-F96A-4808-8803-FFC97D5AB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81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1.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rPr>
              <a:t>2. </a:t>
            </a:r>
            <a:r>
              <a:rPr lang="en-US" sz="1400" dirty="0">
                <a:effectLst/>
                <a:latin typeface="Segoe UI" panose="020B0502040204020203" pitchFamily="34" charset="0"/>
              </a:rPr>
              <a:t>O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3. What is the action item here? What is EVN doing to increase gender equity and reduce bias in career? Is this about training people involved with hiring and promotion? Please explain: Yes,</a:t>
            </a:r>
            <a:r>
              <a:rPr lang="en-US" sz="1400" baseline="0" dirty="0">
                <a:effectLst/>
                <a:latin typeface="Segoe UI" panose="020B0502040204020203" pitchFamily="34" charset="0"/>
              </a:rPr>
              <a:t> </a:t>
            </a:r>
            <a:r>
              <a:rPr lang="en-US" sz="1400" dirty="0">
                <a:effectLst/>
                <a:latin typeface="Segoe UI" panose="020B0502040204020203" pitchFamily="34" charset="0"/>
              </a:rPr>
              <a:t>training people involved with hiring and promotion </a:t>
            </a:r>
            <a:r>
              <a:rPr lang="en-US" sz="1400" dirty="0">
                <a:solidFill>
                  <a:srgbClr val="FF0000"/>
                </a:solidFill>
                <a:highlight>
                  <a:srgbClr val="FFFF00"/>
                </a:highlight>
              </a:rPr>
              <a:t>to recruit at least 25% women</a:t>
            </a:r>
            <a:r>
              <a:rPr lang="en-US" sz="1400" dirty="0">
                <a:effectLst/>
                <a:latin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4. Is there any way you could begin to quantify this? Put a monetary value? </a:t>
            </a:r>
            <a:r>
              <a:rPr lang="en-US" sz="1400" kern="1200" dirty="0">
                <a:solidFill>
                  <a:srgbClr val="FF0000"/>
                </a:solidFill>
                <a:highlight>
                  <a:srgbClr val="FFFF00"/>
                </a:highlight>
                <a:latin typeface="+mn-lt"/>
                <a:ea typeface="+mn-ea"/>
                <a:cs typeface="+mn-cs"/>
              </a:rPr>
              <a:t>budget: 100 </a:t>
            </a:r>
            <a:r>
              <a:rPr lang="en-US" sz="1400" kern="1200" dirty="0" err="1">
                <a:solidFill>
                  <a:srgbClr val="FF0000"/>
                </a:solidFill>
                <a:highlight>
                  <a:srgbClr val="FFFF00"/>
                </a:highlight>
                <a:latin typeface="+mn-lt"/>
                <a:ea typeface="+mn-ea"/>
                <a:cs typeface="+mn-cs"/>
              </a:rPr>
              <a:t>ppl</a:t>
            </a:r>
            <a:r>
              <a:rPr lang="en-US" sz="1400" kern="1200" dirty="0">
                <a:solidFill>
                  <a:srgbClr val="FF0000"/>
                </a:solidFill>
                <a:highlight>
                  <a:srgbClr val="FFFF00"/>
                </a:highlight>
                <a:latin typeface="+mn-lt"/>
                <a:ea typeface="+mn-ea"/>
                <a:cs typeface="+mn-cs"/>
              </a:rPr>
              <a:t> x </a:t>
            </a:r>
            <a:r>
              <a:rPr lang="en-US" sz="1400" kern="1200" dirty="0" err="1">
                <a:solidFill>
                  <a:srgbClr val="FF0000"/>
                </a:solidFill>
                <a:highlight>
                  <a:srgbClr val="FFFF00"/>
                </a:highlight>
                <a:latin typeface="+mn-lt"/>
                <a:ea typeface="+mn-ea"/>
                <a:cs typeface="+mn-cs"/>
              </a:rPr>
              <a:t>scholoship</a:t>
            </a:r>
            <a:r>
              <a:rPr lang="en-US" sz="1400" kern="1200" dirty="0">
                <a:solidFill>
                  <a:srgbClr val="FF0000"/>
                </a:solidFill>
                <a:highlight>
                  <a:srgbClr val="FFFF00"/>
                </a:highlight>
                <a:latin typeface="+mn-lt"/>
                <a:ea typeface="+mn-ea"/>
                <a:cs typeface="+mn-cs"/>
              </a:rPr>
              <a:t> 10 mil-&gt; 1 </a:t>
            </a:r>
            <a:r>
              <a:rPr lang="en-US" sz="1400" kern="1200" dirty="0" err="1">
                <a:solidFill>
                  <a:srgbClr val="FF0000"/>
                </a:solidFill>
                <a:highlight>
                  <a:srgbClr val="FFFF00"/>
                </a:highlight>
                <a:latin typeface="+mn-lt"/>
                <a:ea typeface="+mn-ea"/>
                <a:cs typeface="+mn-cs"/>
              </a:rPr>
              <a:t>bil</a:t>
            </a:r>
            <a:r>
              <a:rPr lang="en-US" sz="1400" kern="1200" dirty="0">
                <a:solidFill>
                  <a:srgbClr val="FF0000"/>
                </a:solidFill>
                <a:highlight>
                  <a:srgbClr val="FFFF00"/>
                </a:highlight>
                <a:latin typeface="+mn-lt"/>
                <a:ea typeface="+mn-ea"/>
                <a:cs typeface="+mn-cs"/>
              </a:rPr>
              <a:t> /1 yea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rPr>
              <a:t>5. This is a big promise and your leadership will grill you on it. How do your activities lead to profit and growth? Please articulate in a results chain so that your hypothesis is clear and can be pilot tested. What data do you have to back this up? What additional data do you need? </a:t>
            </a:r>
            <a:r>
              <a:rPr lang="en-US" sz="1400" kern="1200" dirty="0">
                <a:solidFill>
                  <a:srgbClr val="FF0000"/>
                </a:solidFill>
                <a:highlight>
                  <a:srgbClr val="FFFF00"/>
                </a:highlight>
                <a:latin typeface="+mn-lt"/>
                <a:ea typeface="+mn-ea"/>
                <a:cs typeface="+mn-cs"/>
              </a:rPr>
              <a:t>Have plan to pilot test women in technical positions =&gt; compare the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rgbClr val="FF0000"/>
              </a:solidFill>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D896D-67B8-4E03-98DA-14B9F07ADB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122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1/ </a:t>
            </a:r>
            <a:r>
              <a:rPr lang="en-US" sz="1800" dirty="0">
                <a:effectLst/>
                <a:latin typeface="Segoe UI" panose="020B0502040204020203" pitchFamily="34" charset="0"/>
              </a:rPr>
              <a:t>Recommend adding to Few female employees at EVN, "especially in </a:t>
            </a:r>
            <a:r>
              <a:rPr lang="en-US" sz="1800" dirty="0" err="1">
                <a:effectLst/>
                <a:latin typeface="Segoe UI" panose="020B0502040204020203" pitchFamily="34" charset="0"/>
              </a:rPr>
              <a:t>techincal</a:t>
            </a:r>
            <a:r>
              <a:rPr lang="en-US" sz="1800" dirty="0">
                <a:effectLst/>
                <a:latin typeface="Segoe UI" panose="020B0502040204020203" pitchFamily="34" charset="0"/>
              </a:rPr>
              <a:t> positions“</a:t>
            </a:r>
            <a:r>
              <a:rPr lang="en-US" sz="1800" baseline="0" dirty="0">
                <a:effectLst/>
                <a:latin typeface="Arial" panose="020B0604020202020204" pitchFamily="34" charset="0"/>
              </a:rPr>
              <a:t>: </a:t>
            </a:r>
            <a:r>
              <a:rPr lang="en-US" baseline="0" dirty="0" err="1"/>
              <a:t>Luyến</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2/ </a:t>
            </a:r>
            <a:r>
              <a:rPr lang="en-US" baseline="0" dirty="0" err="1"/>
              <a:t>Bổ</a:t>
            </a:r>
            <a:r>
              <a:rPr lang="en-US" baseline="0" dirty="0"/>
              <a:t> sung </a:t>
            </a:r>
            <a:r>
              <a:rPr lang="en-US" baseline="0" dirty="0" err="1"/>
              <a:t>thê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khi</a:t>
            </a:r>
            <a:r>
              <a:rPr lang="en-US" baseline="0" dirty="0"/>
              <a:t> </a:t>
            </a:r>
            <a:r>
              <a:rPr lang="en-US" baseline="0" dirty="0" err="1"/>
              <a:t>tăng</a:t>
            </a:r>
            <a:r>
              <a:rPr lang="en-US" baseline="0" dirty="0"/>
              <a:t> </a:t>
            </a:r>
            <a:r>
              <a:rPr lang="en-US" baseline="0" dirty="0" err="1"/>
              <a:t>cường</a:t>
            </a:r>
            <a:r>
              <a:rPr lang="en-US" baseline="0" dirty="0"/>
              <a:t> </a:t>
            </a:r>
            <a:r>
              <a:rPr lang="en-US" baseline="0" dirty="0" err="1"/>
              <a:t>bình</a:t>
            </a:r>
            <a:r>
              <a:rPr lang="en-US" baseline="0" dirty="0"/>
              <a:t> </a:t>
            </a:r>
            <a:r>
              <a:rPr lang="en-US" baseline="0" dirty="0" err="1"/>
              <a:t>đẳng</a:t>
            </a:r>
            <a:r>
              <a:rPr lang="en-US" baseline="0" dirty="0"/>
              <a:t> </a:t>
            </a:r>
            <a:r>
              <a:rPr lang="en-US" baseline="0" dirty="0" err="1"/>
              <a:t>giới</a:t>
            </a:r>
            <a:r>
              <a:rPr lang="en-US" baseline="0" dirty="0"/>
              <a:t>. </a:t>
            </a:r>
            <a:r>
              <a:rPr lang="en-US" baseline="0" dirty="0" err="1"/>
              <a:t>Nếu</a:t>
            </a:r>
            <a:r>
              <a:rPr lang="en-US" baseline="0" dirty="0"/>
              <a:t> </a:t>
            </a:r>
            <a:r>
              <a:rPr lang="en-US" baseline="0" dirty="0" err="1"/>
              <a:t>tăng</a:t>
            </a:r>
            <a:r>
              <a:rPr lang="en-US" baseline="0" dirty="0"/>
              <a:t> </a:t>
            </a:r>
            <a:r>
              <a:rPr lang="en-US" baseline="0" dirty="0" err="1"/>
              <a:t>tỷ</a:t>
            </a:r>
            <a:r>
              <a:rPr lang="en-US" baseline="0" dirty="0"/>
              <a:t> </a:t>
            </a:r>
            <a:r>
              <a:rPr lang="en-US" baseline="0" dirty="0" err="1"/>
              <a:t>lệ</a:t>
            </a:r>
            <a:r>
              <a:rPr lang="en-US" baseline="0" dirty="0"/>
              <a:t> </a:t>
            </a:r>
            <a:r>
              <a:rPr lang="en-US" baseline="0" dirty="0" err="1"/>
              <a:t>nữ</a:t>
            </a:r>
            <a:r>
              <a:rPr lang="en-US" baseline="0" dirty="0"/>
              <a:t> </a:t>
            </a:r>
            <a:r>
              <a:rPr lang="en-US" baseline="0" dirty="0" err="1"/>
              <a:t>làm</a:t>
            </a:r>
            <a:r>
              <a:rPr lang="en-US" baseline="0" dirty="0"/>
              <a:t> </a:t>
            </a:r>
            <a:r>
              <a:rPr lang="en-US" baseline="0" dirty="0" err="1"/>
              <a:t>kỹ</a:t>
            </a:r>
            <a:r>
              <a:rPr lang="en-US" baseline="0" dirty="0"/>
              <a:t> </a:t>
            </a:r>
            <a:r>
              <a:rPr lang="en-US" baseline="0" dirty="0" err="1"/>
              <a:t>thuật</a:t>
            </a:r>
            <a:r>
              <a:rPr lang="en-US" baseline="0" dirty="0"/>
              <a:t> </a:t>
            </a:r>
            <a:r>
              <a:rPr lang="en-US" baseline="0" dirty="0" err="1"/>
              <a:t>thì</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kinh</a:t>
            </a:r>
            <a:r>
              <a:rPr lang="en-US" baseline="0" dirty="0"/>
              <a:t> </a:t>
            </a:r>
            <a:r>
              <a:rPr lang="en-US" baseline="0" dirty="0" err="1"/>
              <a:t>doanh</a:t>
            </a:r>
            <a:r>
              <a:rPr lang="en-US" baseline="0" dirty="0"/>
              <a:t> </a:t>
            </a:r>
            <a:r>
              <a:rPr lang="en-US" baseline="0" dirty="0" err="1"/>
              <a:t>thế</a:t>
            </a:r>
            <a:r>
              <a:rPr lang="en-US" baseline="0" dirty="0"/>
              <a:t> </a:t>
            </a:r>
            <a:r>
              <a:rPr lang="en-US" baseline="0" dirty="0" err="1"/>
              <a:t>nào</a:t>
            </a:r>
            <a:r>
              <a:rPr lang="en-US" baseline="0" dirty="0"/>
              <a:t>? </a:t>
            </a:r>
            <a:r>
              <a:rPr lang="en-US" baseline="0" dirty="0" err="1"/>
              <a:t>Làm</a:t>
            </a:r>
            <a:r>
              <a:rPr lang="en-US" baseline="0" dirty="0"/>
              <a:t> </a:t>
            </a:r>
            <a:r>
              <a:rPr lang="en-US" baseline="0" dirty="0" err="1"/>
              <a:t>thế</a:t>
            </a:r>
            <a:r>
              <a:rPr lang="en-US" baseline="0" dirty="0"/>
              <a:t> </a:t>
            </a:r>
            <a:r>
              <a:rPr lang="en-US" baseline="0" dirty="0" err="1"/>
              <a:t>nào</a:t>
            </a:r>
            <a:r>
              <a:rPr lang="en-US" baseline="0" dirty="0"/>
              <a:t> </a:t>
            </a:r>
            <a:r>
              <a:rPr lang="en-US" baseline="0" dirty="0" err="1"/>
              <a:t>để</a:t>
            </a:r>
            <a:r>
              <a:rPr lang="en-US" baseline="0" dirty="0"/>
              <a:t> </a:t>
            </a:r>
            <a:r>
              <a:rPr lang="en-US" baseline="0" dirty="0" err="1"/>
              <a:t>bộ</a:t>
            </a:r>
            <a:r>
              <a:rPr lang="en-US" baseline="0" dirty="0"/>
              <a:t> </a:t>
            </a:r>
            <a:r>
              <a:rPr lang="en-US" baseline="0" dirty="0" err="1"/>
              <a:t>kỹ</a:t>
            </a:r>
            <a:r>
              <a:rPr lang="en-US" baseline="0" dirty="0"/>
              <a:t> </a:t>
            </a:r>
            <a:r>
              <a:rPr lang="en-US" baseline="0" dirty="0" err="1"/>
              <a:t>năng</a:t>
            </a:r>
            <a:r>
              <a:rPr lang="en-US" baseline="0" dirty="0"/>
              <a:t>, </a:t>
            </a:r>
            <a:r>
              <a:rPr lang="en-US" baseline="0" dirty="0" err="1"/>
              <a:t>phương</a:t>
            </a:r>
            <a:r>
              <a:rPr lang="en-US" baseline="0" dirty="0"/>
              <a:t> </a:t>
            </a:r>
            <a:r>
              <a:rPr lang="en-US" baseline="0" dirty="0" err="1"/>
              <a:t>pháp</a:t>
            </a:r>
            <a:r>
              <a:rPr lang="en-US" baseline="0" dirty="0"/>
              <a:t> </a:t>
            </a:r>
            <a:r>
              <a:rPr lang="en-US" baseline="0" dirty="0" err="1"/>
              <a:t>có</a:t>
            </a:r>
            <a:r>
              <a:rPr lang="en-US" baseline="0" dirty="0"/>
              <a:t> </a:t>
            </a:r>
            <a:r>
              <a:rPr lang="en-US" baseline="0" dirty="0" err="1"/>
              <a:t>thể</a:t>
            </a:r>
            <a:r>
              <a:rPr lang="en-US" baseline="0" dirty="0"/>
              <a:t> </a:t>
            </a:r>
            <a:r>
              <a:rPr lang="en-US" baseline="0" dirty="0" err="1"/>
              <a:t>giúp</a:t>
            </a:r>
            <a:r>
              <a:rPr lang="en-US" baseline="0" dirty="0"/>
              <a:t> EVN </a:t>
            </a:r>
            <a:r>
              <a:rPr lang="en-US" baseline="0" dirty="0" err="1"/>
              <a:t>vượt</a:t>
            </a:r>
            <a:r>
              <a:rPr lang="en-US" baseline="0" dirty="0"/>
              <a:t> qua </a:t>
            </a:r>
            <a:r>
              <a:rPr lang="en-US" baseline="0" dirty="0" err="1"/>
              <a:t>những</a:t>
            </a:r>
            <a:r>
              <a:rPr lang="en-US" baseline="0" dirty="0"/>
              <a:t> </a:t>
            </a:r>
            <a:r>
              <a:rPr lang="en-US" baseline="0" dirty="0" err="1"/>
              <a:t>thách</a:t>
            </a:r>
            <a:r>
              <a:rPr lang="en-US" baseline="0" dirty="0"/>
              <a:t> </a:t>
            </a:r>
            <a:r>
              <a:rPr lang="en-US" baseline="0" dirty="0" err="1"/>
              <a:t>thức</a:t>
            </a:r>
            <a:r>
              <a:rPr lang="en-US" baseline="0" dirty="0"/>
              <a:t> </a:t>
            </a:r>
            <a:r>
              <a:rPr lang="en-US" baseline="0" dirty="0" err="1"/>
              <a:t>và</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chiến</a:t>
            </a:r>
            <a:r>
              <a:rPr lang="en-US" baseline="0" dirty="0"/>
              <a:t> </a:t>
            </a:r>
            <a:r>
              <a:rPr lang="en-US" baseline="0" dirty="0" err="1"/>
              <a:t>lược</a:t>
            </a:r>
            <a:r>
              <a:rPr lang="en-US" baseline="0" dirty="0"/>
              <a:t> ? -&gt; </a:t>
            </a:r>
            <a:r>
              <a:rPr lang="en-US" baseline="0" dirty="0" err="1"/>
              <a:t>đa</a:t>
            </a:r>
            <a:r>
              <a:rPr lang="en-US" baseline="0" dirty="0"/>
              <a:t> </a:t>
            </a:r>
            <a:r>
              <a:rPr lang="en-US" baseline="0" dirty="0" err="1"/>
              <a:t>dạng</a:t>
            </a:r>
            <a:r>
              <a:rPr lang="en-US" baseline="0" dirty="0"/>
              <a:t> </a:t>
            </a:r>
            <a:r>
              <a:rPr lang="en-US" baseline="0" dirty="0" err="1"/>
              <a:t>về</a:t>
            </a:r>
            <a:r>
              <a:rPr lang="en-US" baseline="0" dirty="0"/>
              <a:t> </a:t>
            </a:r>
            <a:r>
              <a:rPr lang="en-US" baseline="0" dirty="0" err="1"/>
              <a:t>góc</a:t>
            </a:r>
            <a:r>
              <a:rPr lang="en-US" baseline="0" dirty="0"/>
              <a:t> </a:t>
            </a:r>
            <a:r>
              <a:rPr lang="en-US" baseline="0" dirty="0" err="1"/>
              <a:t>nhìn</a:t>
            </a:r>
            <a:r>
              <a:rPr lang="en-US" b="1" baseline="0" dirty="0"/>
              <a:t> (</a:t>
            </a:r>
            <a:r>
              <a:rPr lang="en-US" b="1" baseline="0" dirty="0" err="1"/>
              <a:t>vỉew</a:t>
            </a:r>
            <a:r>
              <a:rPr lang="en-US" baseline="0" dirty="0"/>
              <a:t>, </a:t>
            </a:r>
            <a:r>
              <a:rPr lang="en-US" b="1" baseline="0" dirty="0"/>
              <a:t>flexible, diver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3/ </a:t>
            </a:r>
            <a:r>
              <a:rPr lang="en-US" baseline="0" dirty="0" err="1"/>
              <a:t>Với</a:t>
            </a:r>
            <a:r>
              <a:rPr lang="en-US" baseline="0" dirty="0"/>
              <a:t> </a:t>
            </a:r>
            <a:r>
              <a:rPr lang="en-US" baseline="0" dirty="0" err="1"/>
              <a:t>những</a:t>
            </a:r>
            <a:r>
              <a:rPr lang="en-US" baseline="0" dirty="0"/>
              <a:t> </a:t>
            </a:r>
            <a:r>
              <a:rPr lang="en-US" baseline="0" dirty="0" err="1"/>
              <a:t>khuyến</a:t>
            </a:r>
            <a:r>
              <a:rPr lang="en-US" baseline="0" dirty="0"/>
              <a:t> </a:t>
            </a:r>
            <a:r>
              <a:rPr lang="en-US" baseline="0" dirty="0" err="1"/>
              <a:t>nghị</a:t>
            </a:r>
            <a:r>
              <a:rPr lang="en-US" baseline="0" dirty="0"/>
              <a:t> </a:t>
            </a:r>
            <a:r>
              <a:rPr lang="en-US" baseline="0" dirty="0" err="1"/>
              <a:t>về</a:t>
            </a:r>
            <a:r>
              <a:rPr lang="en-US" baseline="0" dirty="0"/>
              <a:t> </a:t>
            </a:r>
            <a:r>
              <a:rPr lang="en-US" baseline="0" dirty="0" err="1"/>
              <a:t>phụ</a:t>
            </a:r>
            <a:r>
              <a:rPr lang="en-US" baseline="0" dirty="0"/>
              <a:t> </a:t>
            </a:r>
            <a:r>
              <a:rPr lang="en-US" baseline="0" dirty="0" err="1"/>
              <a:t>nữ</a:t>
            </a:r>
            <a:r>
              <a:rPr lang="en-US" baseline="0" dirty="0"/>
              <a:t> </a:t>
            </a:r>
            <a:r>
              <a:rPr lang="en-US" baseline="0" dirty="0" err="1"/>
              <a:t>trong</a:t>
            </a:r>
            <a:r>
              <a:rPr lang="en-US" baseline="0" dirty="0"/>
              <a:t> </a:t>
            </a:r>
            <a:r>
              <a:rPr lang="en-US" baseline="0" dirty="0" err="1"/>
              <a:t>quản</a:t>
            </a:r>
            <a:r>
              <a:rPr lang="en-US" baseline="0" dirty="0"/>
              <a:t> </a:t>
            </a:r>
            <a:r>
              <a:rPr lang="en-US" baseline="0" dirty="0" err="1"/>
              <a:t>lý</a:t>
            </a:r>
            <a:r>
              <a:rPr lang="en-US" baseline="0" dirty="0"/>
              <a:t>: </a:t>
            </a:r>
            <a:r>
              <a:rPr lang="en-US" baseline="0" dirty="0" err="1"/>
              <a:t>bổ</a:t>
            </a:r>
            <a:r>
              <a:rPr lang="en-US" baseline="0" dirty="0"/>
              <a:t> sung </a:t>
            </a:r>
            <a:r>
              <a:rPr lang="en-US" baseline="0" dirty="0" err="1"/>
              <a:t>nội</a:t>
            </a:r>
            <a:r>
              <a:rPr lang="en-US" baseline="0" dirty="0"/>
              <a:t> dung </a:t>
            </a:r>
            <a:r>
              <a:rPr lang="en-US" baseline="0" dirty="0" err="1"/>
              <a:t>các</a:t>
            </a:r>
            <a:r>
              <a:rPr lang="en-US" baseline="0" dirty="0"/>
              <a:t> </a:t>
            </a:r>
            <a:r>
              <a:rPr lang="en-US" baseline="0" dirty="0" err="1"/>
              <a:t>vấn</a:t>
            </a:r>
            <a:r>
              <a:rPr lang="en-US" baseline="0" dirty="0"/>
              <a:t> </a:t>
            </a:r>
            <a:r>
              <a:rPr lang="en-US" baseline="0" dirty="0" err="1"/>
              <a:t>đề</a:t>
            </a:r>
            <a:r>
              <a:rPr lang="en-US" baseline="0" dirty="0"/>
              <a:t> </a:t>
            </a:r>
            <a:r>
              <a:rPr lang="en-US" baseline="0" dirty="0" err="1"/>
              <a:t>như</a:t>
            </a:r>
            <a:r>
              <a:rPr lang="en-US" baseline="0" dirty="0"/>
              <a:t> </a:t>
            </a:r>
            <a:r>
              <a:rPr lang="en-US" baseline="0" dirty="0" err="1"/>
              <a:t>mở</a:t>
            </a:r>
            <a:r>
              <a:rPr lang="en-US" baseline="0" dirty="0"/>
              <a:t> </a:t>
            </a:r>
            <a:r>
              <a:rPr lang="en-US" baseline="0" dirty="0" err="1"/>
              <a:t>rộng</a:t>
            </a:r>
            <a:r>
              <a:rPr lang="en-US" baseline="0" dirty="0"/>
              <a:t> </a:t>
            </a:r>
            <a:r>
              <a:rPr lang="en-US" baseline="0" dirty="0" err="1"/>
              <a:t>chương</a:t>
            </a:r>
            <a:r>
              <a:rPr lang="en-US" baseline="0" dirty="0"/>
              <a:t> </a:t>
            </a:r>
            <a:r>
              <a:rPr lang="en-US" baseline="0" dirty="0" err="1"/>
              <a:t>trình</a:t>
            </a:r>
            <a:r>
              <a:rPr lang="en-US" baseline="0" dirty="0"/>
              <a:t> </a:t>
            </a:r>
            <a:r>
              <a:rPr lang="en-US" baseline="0" dirty="0" err="1"/>
              <a:t>đào</a:t>
            </a:r>
            <a:r>
              <a:rPr lang="en-US" baseline="0" dirty="0"/>
              <a:t> </a:t>
            </a:r>
            <a:r>
              <a:rPr lang="en-US" baseline="0" dirty="0" err="1"/>
              <a:t>tạo</a:t>
            </a:r>
            <a:r>
              <a:rPr lang="en-US" baseline="0" dirty="0"/>
              <a:t> </a:t>
            </a:r>
            <a:r>
              <a:rPr lang="en-US" baseline="0" dirty="0" err="1"/>
              <a:t>quản</a:t>
            </a:r>
            <a:r>
              <a:rPr lang="en-US" baseline="0" dirty="0"/>
              <a:t> </a:t>
            </a:r>
            <a:r>
              <a:rPr lang="en-US" baseline="0" dirty="0" err="1"/>
              <a:t>lý</a:t>
            </a:r>
            <a:r>
              <a:rPr lang="en-US" baseline="0" dirty="0"/>
              <a:t> </a:t>
            </a:r>
            <a:r>
              <a:rPr lang="en-US" baseline="0" dirty="0" err="1"/>
              <a:t>và</a:t>
            </a:r>
            <a:r>
              <a:rPr lang="en-US" baseline="0" dirty="0"/>
              <a:t> </a:t>
            </a:r>
            <a:r>
              <a:rPr lang="en-US" baseline="0" dirty="0" err="1"/>
              <a:t>kèm</a:t>
            </a:r>
            <a:r>
              <a:rPr lang="en-US" baseline="0" dirty="0"/>
              <a:t> </a:t>
            </a:r>
            <a:r>
              <a:rPr lang="en-US" baseline="0" dirty="0" err="1"/>
              <a:t>cặp</a:t>
            </a:r>
            <a:r>
              <a:rPr lang="en-US" baseline="0" dirty="0"/>
              <a:t> …-&gt; </a:t>
            </a:r>
            <a:r>
              <a:rPr lang="en-US" baseline="0" dirty="0" err="1"/>
              <a:t>Bổ</a:t>
            </a:r>
            <a:r>
              <a:rPr lang="en-US" baseline="0" dirty="0"/>
              <a:t> sun</a:t>
            </a:r>
            <a:r>
              <a:rPr lang="en-US" b="1" baseline="0" dirty="0"/>
              <a:t>g “training, mento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4/ </a:t>
            </a:r>
            <a:r>
              <a:rPr lang="en-US" baseline="0" dirty="0" err="1"/>
              <a:t>Khuyến</a:t>
            </a:r>
            <a:r>
              <a:rPr lang="en-US" baseline="0" dirty="0"/>
              <a:t> </a:t>
            </a:r>
            <a:r>
              <a:rPr lang="en-US" baseline="0" dirty="0" err="1"/>
              <a:t>khích</a:t>
            </a:r>
            <a:r>
              <a:rPr lang="en-US" baseline="0" dirty="0"/>
              <a:t> </a:t>
            </a:r>
            <a:r>
              <a:rPr lang="en-US" baseline="0" dirty="0" err="1"/>
              <a:t>bổ</a:t>
            </a:r>
            <a:r>
              <a:rPr lang="en-US" baseline="0" dirty="0"/>
              <a:t> sung </a:t>
            </a:r>
            <a:r>
              <a:rPr lang="en-US" baseline="0" dirty="0" err="1"/>
              <a:t>thêm</a:t>
            </a:r>
            <a:r>
              <a:rPr lang="en-US" baseline="0" dirty="0"/>
              <a:t> </a:t>
            </a:r>
            <a:r>
              <a:rPr lang="en-US" baseline="0" dirty="0" err="1"/>
              <a:t>dữ</a:t>
            </a:r>
            <a:r>
              <a:rPr lang="en-US" baseline="0" dirty="0"/>
              <a:t> </a:t>
            </a:r>
            <a:r>
              <a:rPr lang="en-US" baseline="0" dirty="0" err="1"/>
              <a:t>liệu</a:t>
            </a:r>
            <a:r>
              <a:rPr lang="en-US" baseline="0" dirty="0"/>
              <a:t> </a:t>
            </a:r>
            <a:r>
              <a:rPr lang="en-US" baseline="0" dirty="0" err="1"/>
              <a:t>thể</a:t>
            </a:r>
            <a:r>
              <a:rPr lang="en-US" baseline="0" dirty="0"/>
              <a:t> </a:t>
            </a:r>
            <a:r>
              <a:rPr lang="en-US" baseline="0" dirty="0" err="1"/>
              <a:t>hiện</a:t>
            </a:r>
            <a:r>
              <a:rPr lang="en-US" baseline="0" dirty="0"/>
              <a:t>: </a:t>
            </a:r>
            <a:r>
              <a:rPr lang="en-US" baseline="0" dirty="0" err="1"/>
              <a:t>không</a:t>
            </a:r>
            <a:r>
              <a:rPr lang="en-US" baseline="0" dirty="0"/>
              <a:t> </a:t>
            </a:r>
            <a:r>
              <a:rPr lang="en-US" baseline="0" dirty="0" err="1"/>
              <a:t>có</a:t>
            </a:r>
            <a:r>
              <a:rPr lang="en-US" baseline="0" dirty="0"/>
              <a:t> </a:t>
            </a:r>
            <a:r>
              <a:rPr lang="en-US" baseline="0" dirty="0" err="1"/>
              <a:t>số</a:t>
            </a:r>
            <a:r>
              <a:rPr lang="en-US" baseline="0" dirty="0"/>
              <a:t> </a:t>
            </a:r>
            <a:r>
              <a:rPr lang="en-US" baseline="0" dirty="0" err="1"/>
              <a:t>liệu</a:t>
            </a:r>
            <a:r>
              <a:rPr lang="en-US" baseline="0" dirty="0"/>
              <a:t>, </a:t>
            </a:r>
            <a:r>
              <a:rPr lang="en-US" baseline="0" dirty="0" err="1"/>
              <a:t>chỉ</a:t>
            </a:r>
            <a:r>
              <a:rPr lang="en-US" baseline="0" dirty="0"/>
              <a:t> </a:t>
            </a:r>
            <a:r>
              <a:rPr lang="en-US" baseline="0" dirty="0" err="1"/>
              <a:t>đưa</a:t>
            </a:r>
            <a:r>
              <a:rPr lang="en-US" baseline="0" dirty="0"/>
              <a:t> ra </a:t>
            </a:r>
            <a:r>
              <a:rPr lang="en-US" baseline="0" dirty="0" err="1"/>
              <a:t>nhận</a:t>
            </a:r>
            <a:r>
              <a:rPr lang="en-US" baseline="0" dirty="0"/>
              <a:t> </a:t>
            </a:r>
            <a:r>
              <a:rPr lang="en-US" baseline="0" dirty="0" err="1"/>
              <a:t>định</a:t>
            </a:r>
            <a:r>
              <a:rPr lang="en-US" baseline="0" dirty="0"/>
              <a:t> (</a:t>
            </a:r>
            <a:r>
              <a:rPr lang="en-US" baseline="0" dirty="0" err="1"/>
              <a:t>định</a:t>
            </a:r>
            <a:r>
              <a:rPr lang="en-US" baseline="0" dirty="0"/>
              <a:t> </a:t>
            </a:r>
            <a:r>
              <a:rPr lang="en-US" baseline="0" dirty="0" err="1"/>
              <a:t>tính</a:t>
            </a:r>
            <a:r>
              <a:rPr lang="en-US" baseline="0" dirty="0"/>
              <a:t>), NSLD 5 </a:t>
            </a:r>
            <a:r>
              <a:rPr lang="en-US" baseline="0" dirty="0" err="1"/>
              <a:t>năm</a:t>
            </a:r>
            <a:r>
              <a:rPr lang="en-US" baseline="0" dirty="0"/>
              <a:t> </a:t>
            </a:r>
            <a:r>
              <a:rPr lang="en-US" baseline="0" dirty="0" err="1"/>
              <a:t>trước</a:t>
            </a:r>
            <a:r>
              <a:rPr lang="en-US" baseline="0" dirty="0"/>
              <a:t> (</a:t>
            </a:r>
            <a:r>
              <a:rPr lang="en-US" b="1" baseline="0" dirty="0"/>
              <a:t>16-20: 20,6%)</a:t>
            </a:r>
            <a:r>
              <a:rPr lang="en-US" baseline="0" dirty="0"/>
              <a:t> </a:t>
            </a:r>
            <a:r>
              <a:rPr lang="en-US" baseline="0" dirty="0" err="1"/>
              <a:t>theo</a:t>
            </a:r>
            <a:r>
              <a:rPr lang="en-US" baseline="0" dirty="0"/>
              <a:t> </a:t>
            </a:r>
            <a:r>
              <a:rPr lang="en-US" baseline="0" dirty="0" err="1"/>
              <a:t>chiến</a:t>
            </a:r>
            <a:r>
              <a:rPr lang="en-US" baseline="0" dirty="0"/>
              <a:t> </a:t>
            </a:r>
            <a:r>
              <a:rPr lang="en-US" baseline="0" dirty="0" err="1"/>
              <a:t>lược</a:t>
            </a:r>
            <a:r>
              <a:rPr lang="en-US" baseline="0" dirty="0"/>
              <a:t> GĐ </a:t>
            </a:r>
            <a:r>
              <a:rPr lang="en-US" baseline="0" dirty="0" err="1"/>
              <a:t>tới</a:t>
            </a:r>
            <a:r>
              <a:rPr lang="en-US" baseline="0" dirty="0"/>
              <a:t>: </a:t>
            </a:r>
            <a:r>
              <a:rPr lang="en-US" baseline="0" dirty="0" err="1"/>
              <a:t>mỗi</a:t>
            </a:r>
            <a:r>
              <a:rPr lang="en-US" baseline="0" dirty="0"/>
              <a:t> </a:t>
            </a:r>
            <a:r>
              <a:rPr lang="en-US" baseline="0" dirty="0" err="1"/>
              <a:t>năm</a:t>
            </a:r>
            <a:r>
              <a:rPr lang="en-US" baseline="0" dirty="0"/>
              <a:t> </a:t>
            </a:r>
            <a:r>
              <a:rPr lang="en-US" baseline="0" dirty="0" err="1"/>
              <a:t>tăng</a:t>
            </a:r>
            <a:r>
              <a:rPr lang="en-US" baseline="0" dirty="0"/>
              <a:t> NSLĐ 8%/</a:t>
            </a:r>
            <a:r>
              <a:rPr lang="en-US" baseline="0" dirty="0" err="1"/>
              <a:t>năm</a:t>
            </a:r>
            <a:r>
              <a:rPr lang="en-US" baseline="0" dirty="0"/>
              <a:t>, </a:t>
            </a:r>
            <a:r>
              <a:rPr lang="en-US" baseline="0" dirty="0" err="1"/>
              <a:t>để</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đấy</a:t>
            </a:r>
            <a:r>
              <a:rPr lang="en-US" baseline="0" dirty="0"/>
              <a:t> </a:t>
            </a:r>
            <a:r>
              <a:rPr lang="en-US" baseline="0" dirty="0" err="1"/>
              <a:t>thì</a:t>
            </a:r>
            <a:r>
              <a:rPr lang="en-US" baseline="0" dirty="0"/>
              <a:t> </a:t>
            </a:r>
            <a:r>
              <a:rPr lang="en-US" baseline="0" dirty="0" err="1"/>
              <a:t>phải</a:t>
            </a:r>
            <a:r>
              <a:rPr lang="en-US" baseline="0" dirty="0"/>
              <a:t> </a:t>
            </a:r>
            <a:r>
              <a:rPr lang="en-US" baseline="0" dirty="0" err="1"/>
              <a:t>có</a:t>
            </a:r>
            <a:r>
              <a:rPr lang="en-US" baseline="0" dirty="0"/>
              <a:t> </a:t>
            </a:r>
            <a:r>
              <a:rPr lang="en-US" baseline="0" dirty="0" err="1"/>
              <a:t>giải</a:t>
            </a:r>
            <a:r>
              <a:rPr lang="en-US" baseline="0" dirty="0"/>
              <a:t> </a:t>
            </a:r>
            <a:r>
              <a:rPr lang="en-US" baseline="0" dirty="0" err="1"/>
              <a:t>pháp</a:t>
            </a:r>
            <a:r>
              <a:rPr lang="en-US" baseline="0" dirty="0"/>
              <a:t> </a:t>
            </a:r>
            <a:r>
              <a:rPr lang="en-US" baseline="0" dirty="0" err="1"/>
              <a:t>tăng</a:t>
            </a:r>
            <a:r>
              <a:rPr lang="en-US" baseline="0" dirty="0"/>
              <a:t> </a:t>
            </a:r>
            <a:r>
              <a:rPr lang="en-US" baseline="0" dirty="0" err="1"/>
              <a:t>nữ</a:t>
            </a:r>
            <a:r>
              <a:rPr lang="en-US" baseline="0" dirty="0"/>
              <a:t> </a:t>
            </a:r>
            <a:r>
              <a:rPr lang="en-US" baseline="0" dirty="0" err="1"/>
              <a:t>quản</a:t>
            </a:r>
            <a:r>
              <a:rPr lang="en-US" baseline="0" dirty="0"/>
              <a:t> </a:t>
            </a:r>
            <a:r>
              <a:rPr lang="en-US" baseline="0" dirty="0" err="1"/>
              <a:t>lý</a:t>
            </a:r>
            <a:r>
              <a:rPr lang="en-US" baseline="0"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D896D-67B8-4E03-98DA-14B9F07ADB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997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1/ </a:t>
            </a:r>
            <a:r>
              <a:rPr lang="en-US" sz="1800" dirty="0">
                <a:effectLst/>
                <a:latin typeface="Segoe UI" panose="020B0502040204020203" pitchFamily="34" charset="0"/>
              </a:rPr>
              <a:t>Recommend adding to Few female employees at EVN, "especially in </a:t>
            </a:r>
            <a:r>
              <a:rPr lang="en-US" sz="1800" dirty="0" err="1">
                <a:effectLst/>
                <a:latin typeface="Segoe UI" panose="020B0502040204020203" pitchFamily="34" charset="0"/>
              </a:rPr>
              <a:t>techincal</a:t>
            </a:r>
            <a:r>
              <a:rPr lang="en-US" sz="1800" dirty="0">
                <a:effectLst/>
                <a:latin typeface="Segoe UI" panose="020B0502040204020203" pitchFamily="34" charset="0"/>
              </a:rPr>
              <a:t> positions“</a:t>
            </a:r>
            <a:r>
              <a:rPr lang="en-US" sz="1800" baseline="0" dirty="0">
                <a:effectLst/>
                <a:latin typeface="Arial" panose="020B0604020202020204" pitchFamily="34" charset="0"/>
              </a:rPr>
              <a:t>: </a:t>
            </a:r>
            <a:r>
              <a:rPr lang="en-US" baseline="0" dirty="0" err="1"/>
              <a:t>Luyến</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2/ </a:t>
            </a:r>
            <a:r>
              <a:rPr lang="en-US" baseline="0" dirty="0" err="1"/>
              <a:t>Bổ</a:t>
            </a:r>
            <a:r>
              <a:rPr lang="en-US" baseline="0" dirty="0"/>
              <a:t> sung </a:t>
            </a:r>
            <a:r>
              <a:rPr lang="en-US" baseline="0" dirty="0" err="1"/>
              <a:t>thê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khi</a:t>
            </a:r>
            <a:r>
              <a:rPr lang="en-US" baseline="0" dirty="0"/>
              <a:t> </a:t>
            </a:r>
            <a:r>
              <a:rPr lang="en-US" baseline="0" dirty="0" err="1"/>
              <a:t>tăng</a:t>
            </a:r>
            <a:r>
              <a:rPr lang="en-US" baseline="0" dirty="0"/>
              <a:t> </a:t>
            </a:r>
            <a:r>
              <a:rPr lang="en-US" baseline="0" dirty="0" err="1"/>
              <a:t>cường</a:t>
            </a:r>
            <a:r>
              <a:rPr lang="en-US" baseline="0" dirty="0"/>
              <a:t> </a:t>
            </a:r>
            <a:r>
              <a:rPr lang="en-US" baseline="0" dirty="0" err="1"/>
              <a:t>bình</a:t>
            </a:r>
            <a:r>
              <a:rPr lang="en-US" baseline="0" dirty="0"/>
              <a:t> </a:t>
            </a:r>
            <a:r>
              <a:rPr lang="en-US" baseline="0" dirty="0" err="1"/>
              <a:t>đẳng</a:t>
            </a:r>
            <a:r>
              <a:rPr lang="en-US" baseline="0" dirty="0"/>
              <a:t> </a:t>
            </a:r>
            <a:r>
              <a:rPr lang="en-US" baseline="0" dirty="0" err="1"/>
              <a:t>giới</a:t>
            </a:r>
            <a:r>
              <a:rPr lang="en-US" baseline="0" dirty="0"/>
              <a:t>. </a:t>
            </a:r>
            <a:r>
              <a:rPr lang="en-US" baseline="0" dirty="0" err="1"/>
              <a:t>Nếu</a:t>
            </a:r>
            <a:r>
              <a:rPr lang="en-US" baseline="0" dirty="0"/>
              <a:t> </a:t>
            </a:r>
            <a:r>
              <a:rPr lang="en-US" baseline="0" dirty="0" err="1"/>
              <a:t>tăng</a:t>
            </a:r>
            <a:r>
              <a:rPr lang="en-US" baseline="0" dirty="0"/>
              <a:t> </a:t>
            </a:r>
            <a:r>
              <a:rPr lang="en-US" baseline="0" dirty="0" err="1"/>
              <a:t>tỷ</a:t>
            </a:r>
            <a:r>
              <a:rPr lang="en-US" baseline="0" dirty="0"/>
              <a:t> </a:t>
            </a:r>
            <a:r>
              <a:rPr lang="en-US" baseline="0" dirty="0" err="1"/>
              <a:t>lệ</a:t>
            </a:r>
            <a:r>
              <a:rPr lang="en-US" baseline="0" dirty="0"/>
              <a:t> </a:t>
            </a:r>
            <a:r>
              <a:rPr lang="en-US" baseline="0" dirty="0" err="1"/>
              <a:t>nữ</a:t>
            </a:r>
            <a:r>
              <a:rPr lang="en-US" baseline="0" dirty="0"/>
              <a:t> </a:t>
            </a:r>
            <a:r>
              <a:rPr lang="en-US" baseline="0" dirty="0" err="1"/>
              <a:t>làm</a:t>
            </a:r>
            <a:r>
              <a:rPr lang="en-US" baseline="0" dirty="0"/>
              <a:t> </a:t>
            </a:r>
            <a:r>
              <a:rPr lang="en-US" baseline="0" dirty="0" err="1"/>
              <a:t>kỹ</a:t>
            </a:r>
            <a:r>
              <a:rPr lang="en-US" baseline="0" dirty="0"/>
              <a:t> </a:t>
            </a:r>
            <a:r>
              <a:rPr lang="en-US" baseline="0" dirty="0" err="1"/>
              <a:t>thuật</a:t>
            </a:r>
            <a:r>
              <a:rPr lang="en-US" baseline="0" dirty="0"/>
              <a:t> </a:t>
            </a:r>
            <a:r>
              <a:rPr lang="en-US" baseline="0" dirty="0" err="1"/>
              <a:t>thì</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kinh</a:t>
            </a:r>
            <a:r>
              <a:rPr lang="en-US" baseline="0" dirty="0"/>
              <a:t> </a:t>
            </a:r>
            <a:r>
              <a:rPr lang="en-US" baseline="0" dirty="0" err="1"/>
              <a:t>doanh</a:t>
            </a:r>
            <a:r>
              <a:rPr lang="en-US" baseline="0" dirty="0"/>
              <a:t> </a:t>
            </a:r>
            <a:r>
              <a:rPr lang="en-US" baseline="0" dirty="0" err="1"/>
              <a:t>thế</a:t>
            </a:r>
            <a:r>
              <a:rPr lang="en-US" baseline="0" dirty="0"/>
              <a:t> </a:t>
            </a:r>
            <a:r>
              <a:rPr lang="en-US" baseline="0" dirty="0" err="1"/>
              <a:t>nào</a:t>
            </a:r>
            <a:r>
              <a:rPr lang="en-US" baseline="0" dirty="0"/>
              <a:t>? </a:t>
            </a:r>
            <a:r>
              <a:rPr lang="en-US" baseline="0" dirty="0" err="1"/>
              <a:t>Làm</a:t>
            </a:r>
            <a:r>
              <a:rPr lang="en-US" baseline="0" dirty="0"/>
              <a:t> </a:t>
            </a:r>
            <a:r>
              <a:rPr lang="en-US" baseline="0" dirty="0" err="1"/>
              <a:t>thế</a:t>
            </a:r>
            <a:r>
              <a:rPr lang="en-US" baseline="0" dirty="0"/>
              <a:t> </a:t>
            </a:r>
            <a:r>
              <a:rPr lang="en-US" baseline="0" dirty="0" err="1"/>
              <a:t>nào</a:t>
            </a:r>
            <a:r>
              <a:rPr lang="en-US" baseline="0" dirty="0"/>
              <a:t> </a:t>
            </a:r>
            <a:r>
              <a:rPr lang="en-US" baseline="0" dirty="0" err="1"/>
              <a:t>để</a:t>
            </a:r>
            <a:r>
              <a:rPr lang="en-US" baseline="0" dirty="0"/>
              <a:t> </a:t>
            </a:r>
            <a:r>
              <a:rPr lang="en-US" baseline="0" dirty="0" err="1"/>
              <a:t>bộ</a:t>
            </a:r>
            <a:r>
              <a:rPr lang="en-US" baseline="0" dirty="0"/>
              <a:t> </a:t>
            </a:r>
            <a:r>
              <a:rPr lang="en-US" baseline="0" dirty="0" err="1"/>
              <a:t>kỹ</a:t>
            </a:r>
            <a:r>
              <a:rPr lang="en-US" baseline="0" dirty="0"/>
              <a:t> </a:t>
            </a:r>
            <a:r>
              <a:rPr lang="en-US" baseline="0" dirty="0" err="1"/>
              <a:t>năng</a:t>
            </a:r>
            <a:r>
              <a:rPr lang="en-US" baseline="0" dirty="0"/>
              <a:t>, </a:t>
            </a:r>
            <a:r>
              <a:rPr lang="en-US" baseline="0" dirty="0" err="1"/>
              <a:t>phương</a:t>
            </a:r>
            <a:r>
              <a:rPr lang="en-US" baseline="0" dirty="0"/>
              <a:t> </a:t>
            </a:r>
            <a:r>
              <a:rPr lang="en-US" baseline="0" dirty="0" err="1"/>
              <a:t>pháp</a:t>
            </a:r>
            <a:r>
              <a:rPr lang="en-US" baseline="0" dirty="0"/>
              <a:t> </a:t>
            </a:r>
            <a:r>
              <a:rPr lang="en-US" baseline="0" dirty="0" err="1"/>
              <a:t>có</a:t>
            </a:r>
            <a:r>
              <a:rPr lang="en-US" baseline="0" dirty="0"/>
              <a:t> </a:t>
            </a:r>
            <a:r>
              <a:rPr lang="en-US" baseline="0" dirty="0" err="1"/>
              <a:t>thể</a:t>
            </a:r>
            <a:r>
              <a:rPr lang="en-US" baseline="0" dirty="0"/>
              <a:t> </a:t>
            </a:r>
            <a:r>
              <a:rPr lang="en-US" baseline="0" dirty="0" err="1"/>
              <a:t>giúp</a:t>
            </a:r>
            <a:r>
              <a:rPr lang="en-US" baseline="0" dirty="0"/>
              <a:t> EVN </a:t>
            </a:r>
            <a:r>
              <a:rPr lang="en-US" baseline="0" dirty="0" err="1"/>
              <a:t>vượt</a:t>
            </a:r>
            <a:r>
              <a:rPr lang="en-US" baseline="0" dirty="0"/>
              <a:t> qua </a:t>
            </a:r>
            <a:r>
              <a:rPr lang="en-US" baseline="0" dirty="0" err="1"/>
              <a:t>những</a:t>
            </a:r>
            <a:r>
              <a:rPr lang="en-US" baseline="0" dirty="0"/>
              <a:t> </a:t>
            </a:r>
            <a:r>
              <a:rPr lang="en-US" baseline="0" dirty="0" err="1"/>
              <a:t>thách</a:t>
            </a:r>
            <a:r>
              <a:rPr lang="en-US" baseline="0" dirty="0"/>
              <a:t> </a:t>
            </a:r>
            <a:r>
              <a:rPr lang="en-US" baseline="0" dirty="0" err="1"/>
              <a:t>thức</a:t>
            </a:r>
            <a:r>
              <a:rPr lang="en-US" baseline="0" dirty="0"/>
              <a:t> </a:t>
            </a:r>
            <a:r>
              <a:rPr lang="en-US" baseline="0" dirty="0" err="1"/>
              <a:t>và</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chiến</a:t>
            </a:r>
            <a:r>
              <a:rPr lang="en-US" baseline="0" dirty="0"/>
              <a:t> </a:t>
            </a:r>
            <a:r>
              <a:rPr lang="en-US" baseline="0" dirty="0" err="1"/>
              <a:t>lược</a:t>
            </a:r>
            <a:r>
              <a:rPr lang="en-US" baseline="0" dirty="0"/>
              <a:t> ? -&gt; </a:t>
            </a:r>
            <a:r>
              <a:rPr lang="en-US" baseline="0" dirty="0" err="1"/>
              <a:t>đa</a:t>
            </a:r>
            <a:r>
              <a:rPr lang="en-US" baseline="0" dirty="0"/>
              <a:t> </a:t>
            </a:r>
            <a:r>
              <a:rPr lang="en-US" baseline="0" dirty="0" err="1"/>
              <a:t>dạng</a:t>
            </a:r>
            <a:r>
              <a:rPr lang="en-US" baseline="0" dirty="0"/>
              <a:t> </a:t>
            </a:r>
            <a:r>
              <a:rPr lang="en-US" baseline="0" dirty="0" err="1"/>
              <a:t>về</a:t>
            </a:r>
            <a:r>
              <a:rPr lang="en-US" baseline="0" dirty="0"/>
              <a:t> </a:t>
            </a:r>
            <a:r>
              <a:rPr lang="en-US" baseline="0" dirty="0" err="1"/>
              <a:t>góc</a:t>
            </a:r>
            <a:r>
              <a:rPr lang="en-US" baseline="0" dirty="0"/>
              <a:t> </a:t>
            </a:r>
            <a:r>
              <a:rPr lang="en-US" baseline="0" dirty="0" err="1"/>
              <a:t>nhìn</a:t>
            </a:r>
            <a:r>
              <a:rPr lang="en-US" b="1" baseline="0" dirty="0"/>
              <a:t> (</a:t>
            </a:r>
            <a:r>
              <a:rPr lang="en-US" b="1" baseline="0" dirty="0" err="1"/>
              <a:t>vỉew</a:t>
            </a:r>
            <a:r>
              <a:rPr lang="en-US" baseline="0" dirty="0"/>
              <a:t>, </a:t>
            </a:r>
            <a:r>
              <a:rPr lang="en-US" b="1" baseline="0" dirty="0"/>
              <a:t>flexible, divers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3/ </a:t>
            </a:r>
            <a:r>
              <a:rPr lang="en-US" baseline="0" dirty="0" err="1"/>
              <a:t>Với</a:t>
            </a:r>
            <a:r>
              <a:rPr lang="en-US" baseline="0" dirty="0"/>
              <a:t> </a:t>
            </a:r>
            <a:r>
              <a:rPr lang="en-US" baseline="0" dirty="0" err="1"/>
              <a:t>những</a:t>
            </a:r>
            <a:r>
              <a:rPr lang="en-US" baseline="0" dirty="0"/>
              <a:t> </a:t>
            </a:r>
            <a:r>
              <a:rPr lang="en-US" baseline="0" dirty="0" err="1"/>
              <a:t>khuyến</a:t>
            </a:r>
            <a:r>
              <a:rPr lang="en-US" baseline="0" dirty="0"/>
              <a:t> </a:t>
            </a:r>
            <a:r>
              <a:rPr lang="en-US" baseline="0" dirty="0" err="1"/>
              <a:t>nghị</a:t>
            </a:r>
            <a:r>
              <a:rPr lang="en-US" baseline="0" dirty="0"/>
              <a:t> </a:t>
            </a:r>
            <a:r>
              <a:rPr lang="en-US" baseline="0" dirty="0" err="1"/>
              <a:t>về</a:t>
            </a:r>
            <a:r>
              <a:rPr lang="en-US" baseline="0" dirty="0"/>
              <a:t> </a:t>
            </a:r>
            <a:r>
              <a:rPr lang="en-US" baseline="0" dirty="0" err="1"/>
              <a:t>phụ</a:t>
            </a:r>
            <a:r>
              <a:rPr lang="en-US" baseline="0" dirty="0"/>
              <a:t> </a:t>
            </a:r>
            <a:r>
              <a:rPr lang="en-US" baseline="0" dirty="0" err="1"/>
              <a:t>nữ</a:t>
            </a:r>
            <a:r>
              <a:rPr lang="en-US" baseline="0" dirty="0"/>
              <a:t> </a:t>
            </a:r>
            <a:r>
              <a:rPr lang="en-US" baseline="0" dirty="0" err="1"/>
              <a:t>trong</a:t>
            </a:r>
            <a:r>
              <a:rPr lang="en-US" baseline="0" dirty="0"/>
              <a:t> </a:t>
            </a:r>
            <a:r>
              <a:rPr lang="en-US" baseline="0" dirty="0" err="1"/>
              <a:t>quản</a:t>
            </a:r>
            <a:r>
              <a:rPr lang="en-US" baseline="0" dirty="0"/>
              <a:t> </a:t>
            </a:r>
            <a:r>
              <a:rPr lang="en-US" baseline="0" dirty="0" err="1"/>
              <a:t>lý</a:t>
            </a:r>
            <a:r>
              <a:rPr lang="en-US" baseline="0" dirty="0"/>
              <a:t>: </a:t>
            </a:r>
            <a:r>
              <a:rPr lang="en-US" baseline="0" dirty="0" err="1"/>
              <a:t>bổ</a:t>
            </a:r>
            <a:r>
              <a:rPr lang="en-US" baseline="0" dirty="0"/>
              <a:t> sung </a:t>
            </a:r>
            <a:r>
              <a:rPr lang="en-US" baseline="0" dirty="0" err="1"/>
              <a:t>nội</a:t>
            </a:r>
            <a:r>
              <a:rPr lang="en-US" baseline="0" dirty="0"/>
              <a:t> dung </a:t>
            </a:r>
            <a:r>
              <a:rPr lang="en-US" baseline="0" dirty="0" err="1"/>
              <a:t>các</a:t>
            </a:r>
            <a:r>
              <a:rPr lang="en-US" baseline="0" dirty="0"/>
              <a:t> </a:t>
            </a:r>
            <a:r>
              <a:rPr lang="en-US" baseline="0" dirty="0" err="1"/>
              <a:t>vấn</a:t>
            </a:r>
            <a:r>
              <a:rPr lang="en-US" baseline="0" dirty="0"/>
              <a:t> </a:t>
            </a:r>
            <a:r>
              <a:rPr lang="en-US" baseline="0" dirty="0" err="1"/>
              <a:t>đề</a:t>
            </a:r>
            <a:r>
              <a:rPr lang="en-US" baseline="0" dirty="0"/>
              <a:t> </a:t>
            </a:r>
            <a:r>
              <a:rPr lang="en-US" baseline="0" dirty="0" err="1"/>
              <a:t>như</a:t>
            </a:r>
            <a:r>
              <a:rPr lang="en-US" baseline="0" dirty="0"/>
              <a:t> </a:t>
            </a:r>
            <a:r>
              <a:rPr lang="en-US" baseline="0" dirty="0" err="1"/>
              <a:t>mở</a:t>
            </a:r>
            <a:r>
              <a:rPr lang="en-US" baseline="0" dirty="0"/>
              <a:t> </a:t>
            </a:r>
            <a:r>
              <a:rPr lang="en-US" baseline="0" dirty="0" err="1"/>
              <a:t>rộng</a:t>
            </a:r>
            <a:r>
              <a:rPr lang="en-US" baseline="0" dirty="0"/>
              <a:t> </a:t>
            </a:r>
            <a:r>
              <a:rPr lang="en-US" baseline="0" dirty="0" err="1"/>
              <a:t>chương</a:t>
            </a:r>
            <a:r>
              <a:rPr lang="en-US" baseline="0" dirty="0"/>
              <a:t> </a:t>
            </a:r>
            <a:r>
              <a:rPr lang="en-US" baseline="0" dirty="0" err="1"/>
              <a:t>trình</a:t>
            </a:r>
            <a:r>
              <a:rPr lang="en-US" baseline="0" dirty="0"/>
              <a:t> </a:t>
            </a:r>
            <a:r>
              <a:rPr lang="en-US" baseline="0" dirty="0" err="1"/>
              <a:t>đào</a:t>
            </a:r>
            <a:r>
              <a:rPr lang="en-US" baseline="0" dirty="0"/>
              <a:t> </a:t>
            </a:r>
            <a:r>
              <a:rPr lang="en-US" baseline="0" dirty="0" err="1"/>
              <a:t>tạo</a:t>
            </a:r>
            <a:r>
              <a:rPr lang="en-US" baseline="0" dirty="0"/>
              <a:t> </a:t>
            </a:r>
            <a:r>
              <a:rPr lang="en-US" baseline="0" dirty="0" err="1"/>
              <a:t>quản</a:t>
            </a:r>
            <a:r>
              <a:rPr lang="en-US" baseline="0" dirty="0"/>
              <a:t> </a:t>
            </a:r>
            <a:r>
              <a:rPr lang="en-US" baseline="0" dirty="0" err="1"/>
              <a:t>lý</a:t>
            </a:r>
            <a:r>
              <a:rPr lang="en-US" baseline="0" dirty="0"/>
              <a:t> </a:t>
            </a:r>
            <a:r>
              <a:rPr lang="en-US" baseline="0" dirty="0" err="1"/>
              <a:t>và</a:t>
            </a:r>
            <a:r>
              <a:rPr lang="en-US" baseline="0" dirty="0"/>
              <a:t> </a:t>
            </a:r>
            <a:r>
              <a:rPr lang="en-US" baseline="0" dirty="0" err="1"/>
              <a:t>kèm</a:t>
            </a:r>
            <a:r>
              <a:rPr lang="en-US" baseline="0" dirty="0"/>
              <a:t> </a:t>
            </a:r>
            <a:r>
              <a:rPr lang="en-US" baseline="0" dirty="0" err="1"/>
              <a:t>cặp</a:t>
            </a:r>
            <a:r>
              <a:rPr lang="en-US" baseline="0" dirty="0"/>
              <a:t> …-&gt; </a:t>
            </a:r>
            <a:r>
              <a:rPr lang="en-US" baseline="0" dirty="0" err="1"/>
              <a:t>Bổ</a:t>
            </a:r>
            <a:r>
              <a:rPr lang="en-US" baseline="0" dirty="0"/>
              <a:t> sun</a:t>
            </a:r>
            <a:r>
              <a:rPr lang="en-US" b="1" baseline="0" dirty="0"/>
              <a:t>g “training, mento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4/ </a:t>
            </a:r>
            <a:r>
              <a:rPr lang="en-US" baseline="0" dirty="0" err="1"/>
              <a:t>Khuyến</a:t>
            </a:r>
            <a:r>
              <a:rPr lang="en-US" baseline="0" dirty="0"/>
              <a:t> </a:t>
            </a:r>
            <a:r>
              <a:rPr lang="en-US" baseline="0" dirty="0" err="1"/>
              <a:t>khích</a:t>
            </a:r>
            <a:r>
              <a:rPr lang="en-US" baseline="0" dirty="0"/>
              <a:t> </a:t>
            </a:r>
            <a:r>
              <a:rPr lang="en-US" baseline="0" dirty="0" err="1"/>
              <a:t>bổ</a:t>
            </a:r>
            <a:r>
              <a:rPr lang="en-US" baseline="0" dirty="0"/>
              <a:t> sung </a:t>
            </a:r>
            <a:r>
              <a:rPr lang="en-US" baseline="0" dirty="0" err="1"/>
              <a:t>thêm</a:t>
            </a:r>
            <a:r>
              <a:rPr lang="en-US" baseline="0" dirty="0"/>
              <a:t> </a:t>
            </a:r>
            <a:r>
              <a:rPr lang="en-US" baseline="0" dirty="0" err="1"/>
              <a:t>dữ</a:t>
            </a:r>
            <a:r>
              <a:rPr lang="en-US" baseline="0" dirty="0"/>
              <a:t> </a:t>
            </a:r>
            <a:r>
              <a:rPr lang="en-US" baseline="0" dirty="0" err="1"/>
              <a:t>liệu</a:t>
            </a:r>
            <a:r>
              <a:rPr lang="en-US" baseline="0" dirty="0"/>
              <a:t> </a:t>
            </a:r>
            <a:r>
              <a:rPr lang="en-US" baseline="0" dirty="0" err="1"/>
              <a:t>thể</a:t>
            </a:r>
            <a:r>
              <a:rPr lang="en-US" baseline="0" dirty="0"/>
              <a:t> </a:t>
            </a:r>
            <a:r>
              <a:rPr lang="en-US" baseline="0" dirty="0" err="1"/>
              <a:t>hiện</a:t>
            </a:r>
            <a:r>
              <a:rPr lang="en-US" baseline="0" dirty="0"/>
              <a:t>: </a:t>
            </a:r>
            <a:r>
              <a:rPr lang="en-US" baseline="0" dirty="0" err="1"/>
              <a:t>không</a:t>
            </a:r>
            <a:r>
              <a:rPr lang="en-US" baseline="0" dirty="0"/>
              <a:t> </a:t>
            </a:r>
            <a:r>
              <a:rPr lang="en-US" baseline="0" dirty="0" err="1"/>
              <a:t>có</a:t>
            </a:r>
            <a:r>
              <a:rPr lang="en-US" baseline="0" dirty="0"/>
              <a:t> </a:t>
            </a:r>
            <a:r>
              <a:rPr lang="en-US" baseline="0" dirty="0" err="1"/>
              <a:t>số</a:t>
            </a:r>
            <a:r>
              <a:rPr lang="en-US" baseline="0" dirty="0"/>
              <a:t> </a:t>
            </a:r>
            <a:r>
              <a:rPr lang="en-US" baseline="0" dirty="0" err="1"/>
              <a:t>liệu</a:t>
            </a:r>
            <a:r>
              <a:rPr lang="en-US" baseline="0" dirty="0"/>
              <a:t>, </a:t>
            </a:r>
            <a:r>
              <a:rPr lang="en-US" baseline="0" dirty="0" err="1"/>
              <a:t>chỉ</a:t>
            </a:r>
            <a:r>
              <a:rPr lang="en-US" baseline="0" dirty="0"/>
              <a:t> </a:t>
            </a:r>
            <a:r>
              <a:rPr lang="en-US" baseline="0" dirty="0" err="1"/>
              <a:t>đưa</a:t>
            </a:r>
            <a:r>
              <a:rPr lang="en-US" baseline="0" dirty="0"/>
              <a:t> ra </a:t>
            </a:r>
            <a:r>
              <a:rPr lang="en-US" baseline="0" dirty="0" err="1"/>
              <a:t>nhận</a:t>
            </a:r>
            <a:r>
              <a:rPr lang="en-US" baseline="0" dirty="0"/>
              <a:t> </a:t>
            </a:r>
            <a:r>
              <a:rPr lang="en-US" baseline="0" dirty="0" err="1"/>
              <a:t>định</a:t>
            </a:r>
            <a:r>
              <a:rPr lang="en-US" baseline="0" dirty="0"/>
              <a:t> (</a:t>
            </a:r>
            <a:r>
              <a:rPr lang="en-US" baseline="0" dirty="0" err="1"/>
              <a:t>định</a:t>
            </a:r>
            <a:r>
              <a:rPr lang="en-US" baseline="0" dirty="0"/>
              <a:t> </a:t>
            </a:r>
            <a:r>
              <a:rPr lang="en-US" baseline="0" dirty="0" err="1"/>
              <a:t>tính</a:t>
            </a:r>
            <a:r>
              <a:rPr lang="en-US" baseline="0" dirty="0"/>
              <a:t>), NSLD 5 </a:t>
            </a:r>
            <a:r>
              <a:rPr lang="en-US" baseline="0" dirty="0" err="1"/>
              <a:t>năm</a:t>
            </a:r>
            <a:r>
              <a:rPr lang="en-US" baseline="0" dirty="0"/>
              <a:t> </a:t>
            </a:r>
            <a:r>
              <a:rPr lang="en-US" baseline="0" dirty="0" err="1"/>
              <a:t>trước</a:t>
            </a:r>
            <a:r>
              <a:rPr lang="en-US" baseline="0" dirty="0"/>
              <a:t> (</a:t>
            </a:r>
            <a:r>
              <a:rPr lang="en-US" b="1" baseline="0" dirty="0"/>
              <a:t>16-20: 20,6%)</a:t>
            </a:r>
            <a:r>
              <a:rPr lang="en-US" baseline="0" dirty="0"/>
              <a:t> </a:t>
            </a:r>
            <a:r>
              <a:rPr lang="en-US" baseline="0" dirty="0" err="1"/>
              <a:t>theo</a:t>
            </a:r>
            <a:r>
              <a:rPr lang="en-US" baseline="0" dirty="0"/>
              <a:t> </a:t>
            </a:r>
            <a:r>
              <a:rPr lang="en-US" baseline="0" dirty="0" err="1"/>
              <a:t>chiến</a:t>
            </a:r>
            <a:r>
              <a:rPr lang="en-US" baseline="0" dirty="0"/>
              <a:t> </a:t>
            </a:r>
            <a:r>
              <a:rPr lang="en-US" baseline="0" dirty="0" err="1"/>
              <a:t>lược</a:t>
            </a:r>
            <a:r>
              <a:rPr lang="en-US" baseline="0" dirty="0"/>
              <a:t> GĐ </a:t>
            </a:r>
            <a:r>
              <a:rPr lang="en-US" baseline="0" dirty="0" err="1"/>
              <a:t>tới</a:t>
            </a:r>
            <a:r>
              <a:rPr lang="en-US" baseline="0" dirty="0"/>
              <a:t>: </a:t>
            </a:r>
            <a:r>
              <a:rPr lang="en-US" baseline="0" dirty="0" err="1"/>
              <a:t>mỗi</a:t>
            </a:r>
            <a:r>
              <a:rPr lang="en-US" baseline="0" dirty="0"/>
              <a:t> </a:t>
            </a:r>
            <a:r>
              <a:rPr lang="en-US" baseline="0" dirty="0" err="1"/>
              <a:t>năm</a:t>
            </a:r>
            <a:r>
              <a:rPr lang="en-US" baseline="0" dirty="0"/>
              <a:t> </a:t>
            </a:r>
            <a:r>
              <a:rPr lang="en-US" baseline="0" dirty="0" err="1"/>
              <a:t>tăng</a:t>
            </a:r>
            <a:r>
              <a:rPr lang="en-US" baseline="0" dirty="0"/>
              <a:t> NSLĐ 8%/</a:t>
            </a:r>
            <a:r>
              <a:rPr lang="en-US" baseline="0" dirty="0" err="1"/>
              <a:t>năm</a:t>
            </a:r>
            <a:r>
              <a:rPr lang="en-US" baseline="0" dirty="0"/>
              <a:t>, </a:t>
            </a:r>
            <a:r>
              <a:rPr lang="en-US" baseline="0" dirty="0" err="1"/>
              <a:t>để</a:t>
            </a:r>
            <a:r>
              <a:rPr lang="en-US" baseline="0" dirty="0"/>
              <a:t> </a:t>
            </a:r>
            <a:r>
              <a:rPr lang="en-US" baseline="0" dirty="0" err="1"/>
              <a:t>đạt</a:t>
            </a:r>
            <a:r>
              <a:rPr lang="en-US" baseline="0" dirty="0"/>
              <a:t> </a:t>
            </a:r>
            <a:r>
              <a:rPr lang="en-US" baseline="0" dirty="0" err="1"/>
              <a:t>được</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đấy</a:t>
            </a:r>
            <a:r>
              <a:rPr lang="en-US" baseline="0" dirty="0"/>
              <a:t> </a:t>
            </a:r>
            <a:r>
              <a:rPr lang="en-US" baseline="0" dirty="0" err="1"/>
              <a:t>thì</a:t>
            </a:r>
            <a:r>
              <a:rPr lang="en-US" baseline="0" dirty="0"/>
              <a:t> </a:t>
            </a:r>
            <a:r>
              <a:rPr lang="en-US" baseline="0" dirty="0" err="1"/>
              <a:t>phải</a:t>
            </a:r>
            <a:r>
              <a:rPr lang="en-US" baseline="0" dirty="0"/>
              <a:t> </a:t>
            </a:r>
            <a:r>
              <a:rPr lang="en-US" baseline="0" dirty="0" err="1"/>
              <a:t>có</a:t>
            </a:r>
            <a:r>
              <a:rPr lang="en-US" baseline="0" dirty="0"/>
              <a:t> </a:t>
            </a:r>
            <a:r>
              <a:rPr lang="en-US" baseline="0" dirty="0" err="1"/>
              <a:t>giải</a:t>
            </a:r>
            <a:r>
              <a:rPr lang="en-US" baseline="0" dirty="0"/>
              <a:t> </a:t>
            </a:r>
            <a:r>
              <a:rPr lang="en-US" baseline="0" dirty="0" err="1"/>
              <a:t>pháp</a:t>
            </a:r>
            <a:r>
              <a:rPr lang="en-US" baseline="0" dirty="0"/>
              <a:t> </a:t>
            </a:r>
            <a:r>
              <a:rPr lang="en-US" baseline="0" dirty="0" err="1"/>
              <a:t>tăng</a:t>
            </a:r>
            <a:r>
              <a:rPr lang="en-US" baseline="0" dirty="0"/>
              <a:t> </a:t>
            </a:r>
            <a:r>
              <a:rPr lang="en-US" baseline="0" dirty="0" err="1"/>
              <a:t>nữ</a:t>
            </a:r>
            <a:r>
              <a:rPr lang="en-US" baseline="0" dirty="0"/>
              <a:t> </a:t>
            </a:r>
            <a:r>
              <a:rPr lang="en-US" baseline="0" dirty="0" err="1"/>
              <a:t>quản</a:t>
            </a:r>
            <a:r>
              <a:rPr lang="en-US" baseline="0" dirty="0"/>
              <a:t> </a:t>
            </a:r>
            <a:r>
              <a:rPr lang="en-US" baseline="0" dirty="0" err="1"/>
              <a:t>lý</a:t>
            </a:r>
            <a:r>
              <a:rPr lang="en-US" baseline="0"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D896D-67B8-4E03-98DA-14B9F07ADB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0435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err="1"/>
              <a:t>Phát</a:t>
            </a:r>
            <a:r>
              <a:rPr lang="en-US" sz="1800" dirty="0"/>
              <a:t> </a:t>
            </a:r>
            <a:r>
              <a:rPr lang="en-US" sz="1800" dirty="0" err="1"/>
              <a:t>triển</a:t>
            </a:r>
            <a:r>
              <a:rPr lang="en-US" sz="1800" dirty="0"/>
              <a:t> </a:t>
            </a:r>
            <a:r>
              <a:rPr lang="en-US" sz="1800" dirty="0" err="1"/>
              <a:t>tài</a:t>
            </a:r>
            <a:r>
              <a:rPr lang="en-US" sz="1800" dirty="0"/>
              <a:t> </a:t>
            </a:r>
            <a:r>
              <a:rPr lang="en-US" sz="1800" dirty="0" err="1"/>
              <a:t>năng</a:t>
            </a:r>
            <a:r>
              <a:rPr lang="en-US" sz="1800" dirty="0"/>
              <a:t>: mentorship, </a:t>
            </a:r>
            <a:r>
              <a:rPr lang="en-US" sz="1800" dirty="0" err="1"/>
              <a:t>luân</a:t>
            </a:r>
            <a:r>
              <a:rPr lang="en-US" sz="1800" dirty="0"/>
              <a:t> </a:t>
            </a:r>
            <a:r>
              <a:rPr lang="en-US" sz="1800" dirty="0" err="1"/>
              <a:t>chuyển</a:t>
            </a:r>
            <a:r>
              <a:rPr lang="en-US" sz="1800" dirty="0"/>
              <a:t> </a:t>
            </a:r>
            <a:r>
              <a:rPr lang="en-US" sz="1800" dirty="0" err="1"/>
              <a:t>giữa</a:t>
            </a:r>
            <a:r>
              <a:rPr lang="en-US" sz="1800" dirty="0"/>
              <a:t> </a:t>
            </a:r>
            <a:r>
              <a:rPr lang="en-US" sz="1800" dirty="0" err="1"/>
              <a:t>các</a:t>
            </a:r>
            <a:r>
              <a:rPr lang="en-US" sz="1800" dirty="0"/>
              <a:t> </a:t>
            </a:r>
            <a:r>
              <a:rPr lang="en-US" sz="1800" dirty="0" err="1"/>
              <a:t>vị</a:t>
            </a:r>
            <a:r>
              <a:rPr lang="en-US" sz="1800" dirty="0"/>
              <a:t> </a:t>
            </a:r>
            <a:r>
              <a:rPr lang="en-US" sz="1800" dirty="0" err="1"/>
              <a:t>trí</a:t>
            </a:r>
            <a:r>
              <a:rPr lang="en-US" sz="1800" dirty="0"/>
              <a:t>, </a:t>
            </a:r>
            <a:r>
              <a:rPr lang="en-US" sz="1800" dirty="0" err="1"/>
              <a:t>trao</a:t>
            </a:r>
            <a:r>
              <a:rPr lang="en-US" sz="1800" dirty="0"/>
              <a:t> </a:t>
            </a:r>
            <a:r>
              <a:rPr lang="en-US" sz="1800" dirty="0" err="1"/>
              <a:t>đổi</a:t>
            </a:r>
            <a:r>
              <a:rPr lang="en-US" sz="1800" dirty="0"/>
              <a:t> </a:t>
            </a:r>
            <a:r>
              <a:rPr lang="en-US" sz="1800" dirty="0" err="1"/>
              <a:t>nhóm</a:t>
            </a:r>
            <a:r>
              <a:rPr lang="en-US" sz="1800" dirty="0"/>
              <a:t>, </a:t>
            </a:r>
            <a:r>
              <a:rPr lang="en-US" sz="1800" dirty="0" err="1"/>
              <a:t>diễn</a:t>
            </a:r>
            <a:r>
              <a:rPr lang="en-US" sz="1800" dirty="0"/>
              <a:t> </a:t>
            </a:r>
            <a:r>
              <a:rPr lang="en-US" sz="1800" dirty="0" err="1"/>
              <a:t>đàn</a:t>
            </a:r>
            <a:r>
              <a:rPr lang="en-US" sz="1800" dirty="0"/>
              <a:t>, </a:t>
            </a:r>
            <a:r>
              <a:rPr lang="en-US" sz="1800" dirty="0" err="1"/>
              <a:t>kêu</a:t>
            </a:r>
            <a:r>
              <a:rPr lang="en-US" sz="1800" dirty="0"/>
              <a:t> </a:t>
            </a:r>
            <a:r>
              <a:rPr lang="en-US" sz="1800" dirty="0" err="1"/>
              <a:t>gọi</a:t>
            </a:r>
            <a:r>
              <a:rPr lang="en-US" sz="1800" dirty="0"/>
              <a:t> </a:t>
            </a:r>
            <a:r>
              <a:rPr lang="en-US" sz="1800" dirty="0" err="1"/>
              <a:t>sáng</a:t>
            </a:r>
            <a:r>
              <a:rPr lang="en-US" sz="1800" dirty="0"/>
              <a:t> </a:t>
            </a:r>
            <a:r>
              <a:rPr lang="en-US" sz="1800" dirty="0" err="1"/>
              <a:t>kiến</a:t>
            </a:r>
            <a:r>
              <a:rPr lang="en-US" sz="1800" dirty="0"/>
              <a:t>, </a:t>
            </a:r>
            <a:r>
              <a:rPr lang="en-US" sz="1800" dirty="0" err="1"/>
              <a:t>hoạt</a:t>
            </a:r>
            <a:r>
              <a:rPr lang="en-US" sz="1800" dirty="0"/>
              <a:t> </a:t>
            </a:r>
            <a:r>
              <a:rPr lang="en-US" sz="1800" dirty="0" err="1"/>
              <a:t>động</a:t>
            </a:r>
            <a:r>
              <a:rPr lang="en-US" sz="1800" dirty="0"/>
              <a:t> </a:t>
            </a:r>
            <a:r>
              <a:rPr lang="en-US" sz="1800" dirty="0" err="1"/>
              <a:t>ngoài</a:t>
            </a:r>
            <a:r>
              <a:rPr lang="en-US" sz="1800" dirty="0"/>
              <a:t> </a:t>
            </a:r>
            <a:r>
              <a:rPr lang="en-US" sz="1800" dirty="0" err="1"/>
              <a:t>giờ</a:t>
            </a:r>
            <a:r>
              <a:rPr lang="en-US" sz="1800" dirty="0"/>
              <a:t> </a:t>
            </a:r>
          </a:p>
          <a:p>
            <a:r>
              <a:rPr lang="en-US" sz="1800" dirty="0" err="1"/>
              <a:t>Lãnh</a:t>
            </a:r>
            <a:r>
              <a:rPr lang="en-US" sz="1800" dirty="0"/>
              <a:t> </a:t>
            </a:r>
            <a:r>
              <a:rPr lang="en-US" sz="1800" dirty="0" err="1"/>
              <a:t>đạo</a:t>
            </a:r>
            <a:r>
              <a:rPr lang="en-US" sz="1800" dirty="0"/>
              <a:t>: chia </a:t>
            </a:r>
            <a:r>
              <a:rPr lang="en-US" sz="1800" dirty="0" err="1"/>
              <a:t>các</a:t>
            </a:r>
            <a:r>
              <a:rPr lang="en-US" sz="1800" dirty="0"/>
              <a:t> </a:t>
            </a:r>
            <a:r>
              <a:rPr lang="en-US" sz="1800" dirty="0" err="1"/>
              <a:t>nhóm</a:t>
            </a:r>
            <a:r>
              <a:rPr lang="en-US" sz="1800" dirty="0"/>
              <a:t> </a:t>
            </a:r>
            <a:r>
              <a:rPr lang="en-US" sz="1800" dirty="0" err="1"/>
              <a:t>nhỏ</a:t>
            </a:r>
            <a:r>
              <a:rPr lang="en-US" sz="1800" dirty="0"/>
              <a:t> </a:t>
            </a:r>
            <a:r>
              <a:rPr lang="en-US" sz="1800" dirty="0" err="1"/>
              <a:t>trong</a:t>
            </a:r>
            <a:r>
              <a:rPr lang="en-US" sz="1800" dirty="0"/>
              <a:t> 1 </a:t>
            </a:r>
            <a:r>
              <a:rPr lang="en-US" sz="1800" dirty="0" err="1"/>
              <a:t>tập</a:t>
            </a:r>
            <a:r>
              <a:rPr lang="en-US" sz="1800" dirty="0"/>
              <a:t> </a:t>
            </a:r>
            <a:r>
              <a:rPr lang="en-US" sz="1800" dirty="0" err="1"/>
              <a:t>thể</a:t>
            </a:r>
            <a:r>
              <a:rPr lang="en-US" sz="1800" dirty="0"/>
              <a:t>, </a:t>
            </a:r>
            <a:r>
              <a:rPr lang="en-US" sz="1800" dirty="0" err="1"/>
              <a:t>giao</a:t>
            </a:r>
            <a:r>
              <a:rPr lang="en-US" sz="1800" dirty="0"/>
              <a:t> team work </a:t>
            </a:r>
            <a:r>
              <a:rPr lang="en-US" sz="1800" dirty="0" err="1"/>
              <a:t>theo</a:t>
            </a:r>
            <a:r>
              <a:rPr lang="en-US" sz="1800" dirty="0"/>
              <a:t> </a:t>
            </a:r>
            <a:r>
              <a:rPr lang="en-US" sz="1800" dirty="0" err="1"/>
              <a:t>từng</a:t>
            </a:r>
            <a:r>
              <a:rPr lang="en-US" sz="1800" dirty="0"/>
              <a:t> </a:t>
            </a:r>
            <a:r>
              <a:rPr lang="en-US" sz="1800" dirty="0" err="1"/>
              <a:t>nhiệm</a:t>
            </a:r>
            <a:r>
              <a:rPr lang="en-US" sz="1800" dirty="0"/>
              <a:t> </a:t>
            </a:r>
            <a:r>
              <a:rPr lang="en-US" sz="1800" dirty="0" err="1"/>
              <a:t>vụ</a:t>
            </a:r>
            <a:r>
              <a:rPr lang="en-US" sz="1800" dirty="0"/>
              <a:t> </a:t>
            </a:r>
            <a:r>
              <a:rPr lang="en-US" sz="1800" dirty="0" err="1"/>
              <a:t>và</a:t>
            </a:r>
            <a:r>
              <a:rPr lang="en-US" sz="1800" dirty="0"/>
              <a:t> </a:t>
            </a:r>
            <a:r>
              <a:rPr lang="en-US" sz="1800" dirty="0" err="1"/>
              <a:t>hoán</a:t>
            </a:r>
            <a:r>
              <a:rPr lang="en-US" sz="1800" dirty="0"/>
              <a:t> </a:t>
            </a:r>
            <a:r>
              <a:rPr lang="en-US" sz="1800" dirty="0" err="1"/>
              <a:t>đổi</a:t>
            </a:r>
            <a:r>
              <a:rPr lang="en-US" sz="1800" dirty="0"/>
              <a:t> </a:t>
            </a:r>
            <a:r>
              <a:rPr lang="en-US" sz="1800" dirty="0" err="1"/>
              <a:t>nhiều</a:t>
            </a:r>
            <a:r>
              <a:rPr lang="en-US" sz="1800" dirty="0"/>
              <a:t> </a:t>
            </a:r>
            <a:r>
              <a:rPr lang="en-US" sz="1800" dirty="0" err="1"/>
              <a:t>vai</a:t>
            </a:r>
            <a:r>
              <a:rPr lang="en-US" sz="1800" dirty="0"/>
              <a:t> </a:t>
            </a:r>
            <a:r>
              <a:rPr lang="en-US" sz="1800" dirty="0" err="1"/>
              <a:t>trò</a:t>
            </a:r>
            <a:r>
              <a:rPr lang="en-US" sz="1800" dirty="0"/>
              <a:t> </a:t>
            </a:r>
            <a:r>
              <a:rPr lang="en-US" sz="1800" dirty="0" err="1"/>
              <a:t>khác</a:t>
            </a:r>
            <a:r>
              <a:rPr lang="en-US" sz="1800" dirty="0"/>
              <a:t> </a:t>
            </a:r>
            <a:r>
              <a:rPr lang="en-US" sz="1800" dirty="0" err="1"/>
              <a:t>nhau</a:t>
            </a:r>
            <a:r>
              <a:rPr lang="en-US" sz="1800" dirty="0"/>
              <a:t>, </a:t>
            </a:r>
            <a:r>
              <a:rPr lang="en-US" sz="1800" dirty="0" err="1"/>
              <a:t>sáng</a:t>
            </a:r>
            <a:r>
              <a:rPr lang="en-US" sz="1800" dirty="0"/>
              <a:t> </a:t>
            </a:r>
            <a:r>
              <a:rPr lang="en-US" sz="1800" dirty="0" err="1"/>
              <a:t>kiến</a:t>
            </a:r>
            <a:r>
              <a:rPr lang="en-US" sz="1800" dirty="0"/>
              <a:t>… -&gt; </a:t>
            </a:r>
            <a:r>
              <a:rPr lang="en-US" sz="1800" dirty="0" err="1"/>
              <a:t>tìm</a:t>
            </a:r>
            <a:r>
              <a:rPr lang="en-US" sz="1800" dirty="0"/>
              <a:t> </a:t>
            </a:r>
            <a:r>
              <a:rPr lang="en-US" sz="1800" dirty="0" err="1"/>
              <a:t>kiếm</a:t>
            </a:r>
            <a:r>
              <a:rPr lang="en-US" sz="1800" dirty="0"/>
              <a:t> </a:t>
            </a:r>
            <a:r>
              <a:rPr lang="en-US" sz="1800" dirty="0" err="1"/>
              <a:t>nhân</a:t>
            </a:r>
            <a:r>
              <a:rPr lang="en-US" sz="1800" dirty="0"/>
              <a:t> </a:t>
            </a:r>
            <a:r>
              <a:rPr lang="en-US" sz="1800" dirty="0" err="1"/>
              <a:t>tố</a:t>
            </a:r>
            <a:r>
              <a:rPr lang="en-US" sz="1800" dirty="0"/>
              <a:t> </a:t>
            </a:r>
            <a:r>
              <a:rPr lang="en-US" sz="1800" dirty="0" err="1"/>
              <a:t>lãnh</a:t>
            </a:r>
            <a:r>
              <a:rPr lang="en-US" sz="1800" dirty="0"/>
              <a:t> </a:t>
            </a:r>
            <a:r>
              <a:rPr lang="en-US" sz="1800" dirty="0" err="1"/>
              <a:t>đạo</a:t>
            </a:r>
            <a:r>
              <a:rPr lang="en-US" sz="1800" dirty="0"/>
              <a:t> </a:t>
            </a:r>
            <a:r>
              <a:rPr lang="en-US" sz="1800" dirty="0" err="1"/>
              <a:t>tương</a:t>
            </a:r>
            <a:r>
              <a:rPr lang="en-US" sz="1800" dirty="0"/>
              <a:t> </a:t>
            </a:r>
            <a:r>
              <a:rPr lang="en-US" sz="1800" dirty="0" err="1"/>
              <a:t>lai</a:t>
            </a:r>
            <a:endParaRPr lang="en-US" sz="1800" dirty="0"/>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3AD896D-67B8-4E03-98DA-14B9F07ADB7F}" type="slidenum">
              <a:rPr lang="en-US" smtClean="0"/>
              <a:t>16</a:t>
            </a:fld>
            <a:endParaRPr lang="en-US"/>
          </a:p>
        </p:txBody>
      </p:sp>
    </p:spTree>
    <p:extLst>
      <p:ext uri="{BB962C8B-B14F-4D97-AF65-F5344CB8AC3E}">
        <p14:creationId xmlns:p14="http://schemas.microsoft.com/office/powerpoint/2010/main" val="788837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1.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rPr>
              <a:t>2. </a:t>
            </a:r>
            <a:r>
              <a:rPr lang="en-US" sz="1400" dirty="0">
                <a:effectLst/>
                <a:latin typeface="Segoe UI" panose="020B0502040204020203" pitchFamily="34" charset="0"/>
              </a:rPr>
              <a:t>O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3. What is the action item here? What is EVN doing to increase gender equity and reduce bias in career? Is this about training people involved with hiring and promotion? Please explain: Yes,</a:t>
            </a:r>
            <a:r>
              <a:rPr lang="en-US" sz="1400" baseline="0" dirty="0">
                <a:effectLst/>
                <a:latin typeface="Segoe UI" panose="020B0502040204020203" pitchFamily="34" charset="0"/>
              </a:rPr>
              <a:t> </a:t>
            </a:r>
            <a:r>
              <a:rPr lang="en-US" sz="1400" dirty="0">
                <a:effectLst/>
                <a:latin typeface="Segoe UI" panose="020B0502040204020203" pitchFamily="34" charset="0"/>
              </a:rPr>
              <a:t>training people involved with hiring and promotion </a:t>
            </a:r>
            <a:r>
              <a:rPr lang="en-US" sz="1400" dirty="0">
                <a:solidFill>
                  <a:srgbClr val="FF0000"/>
                </a:solidFill>
                <a:highlight>
                  <a:srgbClr val="FFFF00"/>
                </a:highlight>
              </a:rPr>
              <a:t>to recruit at least 25% women</a:t>
            </a:r>
            <a:r>
              <a:rPr lang="en-US" sz="1400" dirty="0">
                <a:effectLst/>
                <a:latin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rPr>
              <a:t>4. Is there any way you could begin to quantify this? Put a monetary value? </a:t>
            </a:r>
            <a:r>
              <a:rPr lang="en-US" sz="1400" kern="1200" dirty="0">
                <a:solidFill>
                  <a:srgbClr val="FF0000"/>
                </a:solidFill>
                <a:highlight>
                  <a:srgbClr val="FFFF00"/>
                </a:highlight>
                <a:latin typeface="+mn-lt"/>
                <a:ea typeface="+mn-ea"/>
                <a:cs typeface="+mn-cs"/>
              </a:rPr>
              <a:t>budget: 100 </a:t>
            </a:r>
            <a:r>
              <a:rPr lang="en-US" sz="1400" kern="1200" dirty="0" err="1">
                <a:solidFill>
                  <a:srgbClr val="FF0000"/>
                </a:solidFill>
                <a:highlight>
                  <a:srgbClr val="FFFF00"/>
                </a:highlight>
                <a:latin typeface="+mn-lt"/>
                <a:ea typeface="+mn-ea"/>
                <a:cs typeface="+mn-cs"/>
              </a:rPr>
              <a:t>ppl</a:t>
            </a:r>
            <a:r>
              <a:rPr lang="en-US" sz="1400" kern="1200" dirty="0">
                <a:solidFill>
                  <a:srgbClr val="FF0000"/>
                </a:solidFill>
                <a:highlight>
                  <a:srgbClr val="FFFF00"/>
                </a:highlight>
                <a:latin typeface="+mn-lt"/>
                <a:ea typeface="+mn-ea"/>
                <a:cs typeface="+mn-cs"/>
              </a:rPr>
              <a:t> x </a:t>
            </a:r>
            <a:r>
              <a:rPr lang="en-US" sz="1400" kern="1200" dirty="0" err="1">
                <a:solidFill>
                  <a:srgbClr val="FF0000"/>
                </a:solidFill>
                <a:highlight>
                  <a:srgbClr val="FFFF00"/>
                </a:highlight>
                <a:latin typeface="+mn-lt"/>
                <a:ea typeface="+mn-ea"/>
                <a:cs typeface="+mn-cs"/>
              </a:rPr>
              <a:t>scholoship</a:t>
            </a:r>
            <a:r>
              <a:rPr lang="en-US" sz="1400" kern="1200" dirty="0">
                <a:solidFill>
                  <a:srgbClr val="FF0000"/>
                </a:solidFill>
                <a:highlight>
                  <a:srgbClr val="FFFF00"/>
                </a:highlight>
                <a:latin typeface="+mn-lt"/>
                <a:ea typeface="+mn-ea"/>
                <a:cs typeface="+mn-cs"/>
              </a:rPr>
              <a:t> 10 mil-&gt; 1 </a:t>
            </a:r>
            <a:r>
              <a:rPr lang="en-US" sz="1400" kern="1200" dirty="0" err="1">
                <a:solidFill>
                  <a:srgbClr val="FF0000"/>
                </a:solidFill>
                <a:highlight>
                  <a:srgbClr val="FFFF00"/>
                </a:highlight>
                <a:latin typeface="+mn-lt"/>
                <a:ea typeface="+mn-ea"/>
                <a:cs typeface="+mn-cs"/>
              </a:rPr>
              <a:t>bil</a:t>
            </a:r>
            <a:r>
              <a:rPr lang="en-US" sz="1400" kern="1200" dirty="0">
                <a:solidFill>
                  <a:srgbClr val="FF0000"/>
                </a:solidFill>
                <a:highlight>
                  <a:srgbClr val="FFFF00"/>
                </a:highlight>
                <a:latin typeface="+mn-lt"/>
                <a:ea typeface="+mn-ea"/>
                <a:cs typeface="+mn-cs"/>
              </a:rPr>
              <a:t> /1 yea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Arial" panose="020B0604020202020204" pitchFamily="34" charset="0"/>
              </a:rPr>
              <a:t>5. This is a big promise and your leadership will grill you on it. How do your activities lead to profit and growth? Please articulate in a results chain so that your hypothesis is clear and can be pilot tested. What data do you have to back this up? What additional data do you need? </a:t>
            </a:r>
            <a:r>
              <a:rPr lang="en-US" sz="1400" kern="1200" dirty="0">
                <a:solidFill>
                  <a:srgbClr val="FF0000"/>
                </a:solidFill>
                <a:highlight>
                  <a:srgbClr val="FFFF00"/>
                </a:highlight>
                <a:latin typeface="+mn-lt"/>
                <a:ea typeface="+mn-ea"/>
                <a:cs typeface="+mn-cs"/>
              </a:rPr>
              <a:t>Have plan to pilot test women in technical positions =&gt; compare the productiv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rgbClr val="FF0000"/>
              </a:solidFill>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63AD896D-67B8-4E03-98DA-14B9F07ADB7F}" type="slidenum">
              <a:rPr lang="en-US" smtClean="0"/>
              <a:t>20</a:t>
            </a:fld>
            <a:endParaRPr lang="en-US"/>
          </a:p>
        </p:txBody>
      </p:sp>
    </p:spTree>
    <p:extLst>
      <p:ext uri="{BB962C8B-B14F-4D97-AF65-F5344CB8AC3E}">
        <p14:creationId xmlns:p14="http://schemas.microsoft.com/office/powerpoint/2010/main" val="670839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1. 100% </a:t>
            </a:r>
            <a:r>
              <a:rPr lang="en-US" b="1" dirty="0" err="1"/>
              <a:t>nữ</a:t>
            </a:r>
            <a:r>
              <a:rPr lang="en-US" b="1" dirty="0"/>
              <a:t> </a:t>
            </a:r>
            <a:r>
              <a:rPr lang="en-US" b="1" dirty="0" err="1"/>
              <a:t>trong</a:t>
            </a:r>
            <a:r>
              <a:rPr lang="en-US" b="1" dirty="0"/>
              <a:t> </a:t>
            </a:r>
            <a:r>
              <a:rPr lang="en-US" b="1" dirty="0" err="1"/>
              <a:t>quy</a:t>
            </a:r>
            <a:r>
              <a:rPr lang="en-US" b="1" dirty="0"/>
              <a:t> </a:t>
            </a:r>
            <a:r>
              <a:rPr lang="en-US" b="1" dirty="0" err="1"/>
              <a:t>hoạch</a:t>
            </a:r>
            <a:r>
              <a:rPr lang="en-US" b="1" dirty="0"/>
              <a:t> </a:t>
            </a:r>
            <a:r>
              <a:rPr lang="en-US" b="1" dirty="0" err="1"/>
              <a:t>được</a:t>
            </a:r>
            <a:r>
              <a:rPr lang="en-US" b="1" dirty="0"/>
              <a:t> </a:t>
            </a:r>
            <a:r>
              <a:rPr lang="en-US" b="1" dirty="0" err="1"/>
              <a:t>tham</a:t>
            </a:r>
            <a:r>
              <a:rPr lang="en-US" b="1" dirty="0"/>
              <a:t> </a:t>
            </a:r>
            <a:r>
              <a:rPr lang="en-US" b="1" dirty="0" err="1"/>
              <a:t>gia</a:t>
            </a:r>
            <a:r>
              <a:rPr lang="en-US" b="1" dirty="0"/>
              <a:t> </a:t>
            </a:r>
            <a:r>
              <a:rPr lang="en-US" b="1" dirty="0" err="1"/>
              <a:t>đào</a:t>
            </a:r>
            <a:r>
              <a:rPr lang="en-US" b="1" dirty="0"/>
              <a:t> </a:t>
            </a:r>
            <a:r>
              <a:rPr lang="en-US" b="1" dirty="0" err="1"/>
              <a:t>tạo</a:t>
            </a:r>
            <a:r>
              <a:rPr lang="en-US" b="1" dirty="0"/>
              <a:t>, </a:t>
            </a:r>
            <a:r>
              <a:rPr lang="en-US" b="1" dirty="0" err="1"/>
              <a:t>được</a:t>
            </a:r>
            <a:r>
              <a:rPr lang="en-US" b="1" dirty="0"/>
              <a:t> </a:t>
            </a:r>
            <a:r>
              <a:rPr lang="en-US" b="1" dirty="0" err="1"/>
              <a:t>bố</a:t>
            </a:r>
            <a:r>
              <a:rPr lang="en-US" b="1" dirty="0"/>
              <a:t> </a:t>
            </a:r>
            <a:r>
              <a:rPr lang="en-US" b="1" dirty="0" err="1"/>
              <a:t>trí</a:t>
            </a:r>
            <a:r>
              <a:rPr lang="en-US" b="1" dirty="0"/>
              <a:t> flexible work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2. </a:t>
            </a:r>
            <a:r>
              <a:rPr lang="en-US" b="1" dirty="0" err="1">
                <a:highlight>
                  <a:srgbClr val="FFFF00"/>
                </a:highlight>
              </a:rPr>
              <a:t>Môi</a:t>
            </a:r>
            <a:r>
              <a:rPr lang="en-US" b="1" dirty="0">
                <a:highlight>
                  <a:srgbClr val="FFFF00"/>
                </a:highlight>
              </a:rPr>
              <a:t> </a:t>
            </a:r>
            <a:r>
              <a:rPr lang="en-US" b="1" dirty="0" err="1">
                <a:highlight>
                  <a:srgbClr val="FFFF00"/>
                </a:highlight>
              </a:rPr>
              <a:t>trường</a:t>
            </a:r>
            <a:r>
              <a:rPr lang="en-US" b="1" dirty="0">
                <a:highlight>
                  <a:srgbClr val="FFFF00"/>
                </a:highlight>
              </a:rPr>
              <a:t> </a:t>
            </a:r>
            <a:r>
              <a:rPr lang="en-US" b="1" dirty="0" err="1">
                <a:highlight>
                  <a:srgbClr val="FFFF00"/>
                </a:highlight>
              </a:rPr>
              <a:t>làm</a:t>
            </a:r>
            <a:r>
              <a:rPr lang="en-US" b="1" dirty="0">
                <a:highlight>
                  <a:srgbClr val="FFFF00"/>
                </a:highlight>
              </a:rPr>
              <a:t> </a:t>
            </a:r>
            <a:r>
              <a:rPr lang="en-US" b="1" dirty="0" err="1">
                <a:highlight>
                  <a:srgbClr val="FFFF00"/>
                </a:highlight>
              </a:rPr>
              <a:t>việc</a:t>
            </a:r>
            <a:r>
              <a:rPr lang="en-US" b="1" dirty="0">
                <a:highlight>
                  <a:srgbClr val="FFFF00"/>
                </a:highlight>
              </a:rPr>
              <a:t> </a:t>
            </a:r>
            <a:r>
              <a:rPr lang="en-US" b="1" dirty="0" err="1">
                <a:highlight>
                  <a:srgbClr val="FFFF00"/>
                </a:highlight>
              </a:rPr>
              <a:t>cân</a:t>
            </a:r>
            <a:r>
              <a:rPr lang="en-US" b="1" dirty="0">
                <a:highlight>
                  <a:srgbClr val="FFFF00"/>
                </a:highlight>
              </a:rPr>
              <a:t> </a:t>
            </a:r>
            <a:r>
              <a:rPr lang="en-US" b="1" dirty="0" err="1">
                <a:highlight>
                  <a:srgbClr val="FFFF00"/>
                </a:highlight>
              </a:rPr>
              <a:t>bằng</a:t>
            </a:r>
            <a:r>
              <a:rPr lang="en-US" b="1" dirty="0">
                <a:highlight>
                  <a:srgbClr val="FFFF00"/>
                </a:highlight>
              </a:rPr>
              <a:t>, </a:t>
            </a:r>
            <a:r>
              <a:rPr lang="en-US" b="1" dirty="0" err="1">
                <a:highlight>
                  <a:srgbClr val="FFFF00"/>
                </a:highlight>
              </a:rPr>
              <a:t>thân</a:t>
            </a:r>
            <a:r>
              <a:rPr lang="en-US" b="1" dirty="0">
                <a:highlight>
                  <a:srgbClr val="FFFF00"/>
                </a:highlight>
              </a:rPr>
              <a:t> </a:t>
            </a:r>
            <a:r>
              <a:rPr lang="en-US" b="1" dirty="0" err="1">
                <a:highlight>
                  <a:srgbClr val="FFFF00"/>
                </a:highlight>
              </a:rPr>
              <a:t>thiện</a:t>
            </a:r>
            <a:r>
              <a:rPr lang="en-US" b="1" dirty="0">
                <a:highlight>
                  <a:srgbClr val="FFFF00"/>
                </a:highlight>
              </a:rPr>
              <a:t>, </a:t>
            </a:r>
            <a:r>
              <a:rPr lang="en-US" b="1" dirty="0" err="1">
                <a:highlight>
                  <a:srgbClr val="FFFF00"/>
                </a:highlight>
              </a:rPr>
              <a:t>quy</a:t>
            </a:r>
            <a:r>
              <a:rPr lang="en-US" b="1" dirty="0">
                <a:highlight>
                  <a:srgbClr val="FFFF00"/>
                </a:highlight>
              </a:rPr>
              <a:t> </a:t>
            </a:r>
            <a:r>
              <a:rPr lang="en-US" b="1" dirty="0" err="1">
                <a:highlight>
                  <a:srgbClr val="FFFF00"/>
                </a:highlight>
              </a:rPr>
              <a:t>trình</a:t>
            </a:r>
            <a:r>
              <a:rPr lang="en-US" b="1" dirty="0">
                <a:highlight>
                  <a:srgbClr val="FFFF00"/>
                </a:highlight>
              </a:rPr>
              <a:t> </a:t>
            </a:r>
            <a:r>
              <a:rPr lang="en-US" b="1" dirty="0" err="1">
                <a:highlight>
                  <a:srgbClr val="FFFF00"/>
                </a:highlight>
              </a:rPr>
              <a:t>chuẩn</a:t>
            </a:r>
            <a:r>
              <a:rPr lang="en-US" b="1" dirty="0">
                <a:highlight>
                  <a:srgbClr val="FFFF00"/>
                </a:highlight>
              </a:rPr>
              <a:t> </a:t>
            </a:r>
            <a:r>
              <a:rPr lang="en-US" b="1" dirty="0" err="1">
                <a:highlight>
                  <a:srgbClr val="FFFF00"/>
                </a:highlight>
              </a:rPr>
              <a:t>hóa</a:t>
            </a:r>
            <a:r>
              <a:rPr lang="en-US" b="1" dirty="0">
                <a:highlight>
                  <a:srgbClr val="FFFF00"/>
                </a:highlight>
              </a:rPr>
              <a:t> </a:t>
            </a:r>
            <a:r>
              <a:rPr lang="en-US" b="1" dirty="0" err="1">
                <a:highlight>
                  <a:srgbClr val="FFFF00"/>
                </a:highlight>
              </a:rPr>
              <a:t>về</a:t>
            </a:r>
            <a:r>
              <a:rPr lang="en-US" b="1" dirty="0">
                <a:highlight>
                  <a:srgbClr val="FFFF00"/>
                </a:highlight>
              </a:rPr>
              <a:t> </a:t>
            </a:r>
            <a:r>
              <a:rPr lang="en-US" b="1" dirty="0" err="1">
                <a:highlight>
                  <a:srgbClr val="FFFF00"/>
                </a:highlight>
              </a:rPr>
              <a:t>đào</a:t>
            </a:r>
            <a:r>
              <a:rPr lang="en-US" b="1" dirty="0">
                <a:highlight>
                  <a:srgbClr val="FFFF00"/>
                </a:highlight>
              </a:rPr>
              <a:t> </a:t>
            </a:r>
            <a:r>
              <a:rPr lang="en-US" b="1" dirty="0" err="1">
                <a:highlight>
                  <a:srgbClr val="FFFF00"/>
                </a:highlight>
              </a:rPr>
              <a:t>tạo</a:t>
            </a:r>
            <a:r>
              <a:rPr lang="en-US" b="1" dirty="0">
                <a:highlight>
                  <a:srgbClr val="FFFF00"/>
                </a:highlight>
              </a:rPr>
              <a:t>, </a:t>
            </a:r>
            <a:r>
              <a:rPr lang="en-US" b="1" dirty="0" err="1">
                <a:highlight>
                  <a:srgbClr val="FFFF00"/>
                </a:highlight>
              </a:rPr>
              <a:t>hoàn</a:t>
            </a:r>
            <a:r>
              <a:rPr lang="en-US" b="1" dirty="0">
                <a:highlight>
                  <a:srgbClr val="FFFF00"/>
                </a:highlight>
              </a:rPr>
              <a:t> </a:t>
            </a:r>
            <a:r>
              <a:rPr lang="en-US" b="1" dirty="0" err="1">
                <a:highlight>
                  <a:srgbClr val="FFFF00"/>
                </a:highlight>
              </a:rPr>
              <a:t>thiện</a:t>
            </a:r>
            <a:r>
              <a:rPr lang="en-US" b="1" dirty="0">
                <a:highlight>
                  <a:srgbClr val="FFFF00"/>
                </a:highlight>
              </a:rPr>
              <a:t> </a:t>
            </a:r>
            <a:r>
              <a:rPr lang="en-US" b="1" dirty="0" err="1">
                <a:highlight>
                  <a:srgbClr val="FFFF00"/>
                </a:highlight>
              </a:rPr>
              <a:t>tài</a:t>
            </a:r>
            <a:r>
              <a:rPr lang="en-US" b="1" dirty="0">
                <a:highlight>
                  <a:srgbClr val="FFFF00"/>
                </a:highlight>
              </a:rPr>
              <a:t> </a:t>
            </a:r>
            <a:r>
              <a:rPr lang="en-US" b="1" dirty="0" err="1">
                <a:highlight>
                  <a:srgbClr val="FFFF00"/>
                </a:highlight>
              </a:rPr>
              <a:t>liệu</a:t>
            </a:r>
            <a:r>
              <a:rPr lang="en-US" b="1" dirty="0">
                <a:highlight>
                  <a:srgbClr val="FFFF00"/>
                </a:highlight>
              </a:rPr>
              <a:t> </a:t>
            </a:r>
            <a:r>
              <a:rPr lang="en-US" b="1" dirty="0" err="1">
                <a:highlight>
                  <a:srgbClr val="FFFF00"/>
                </a:highlight>
              </a:rPr>
              <a:t>như</a:t>
            </a:r>
            <a:r>
              <a:rPr lang="en-US" b="1" dirty="0">
                <a:highlight>
                  <a:srgbClr val="FFFF00"/>
                </a:highlight>
              </a:rPr>
              <a:t> Canvas </a:t>
            </a:r>
            <a:r>
              <a:rPr lang="en-US" b="1" dirty="0" err="1">
                <a:highlight>
                  <a:srgbClr val="FFFF00"/>
                </a:highlight>
              </a:rPr>
              <a:t>của</a:t>
            </a:r>
            <a:r>
              <a:rPr lang="en-US" b="1" dirty="0">
                <a:highlight>
                  <a:srgbClr val="FFFF00"/>
                </a:highlight>
              </a:rPr>
              <a:t> Georgetown </a:t>
            </a:r>
            <a:r>
              <a:rPr lang="en-US" b="1" dirty="0"/>
              <a:t>….</a:t>
            </a:r>
          </a:p>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3. Policy of flexible work, chi </a:t>
            </a:r>
            <a:r>
              <a:rPr lang="en-US" b="1" dirty="0" err="1"/>
              <a:t>phí</a:t>
            </a:r>
            <a:r>
              <a:rPr lang="en-US" b="1" dirty="0"/>
              <a:t> </a:t>
            </a:r>
            <a:r>
              <a:rPr lang="en-US" b="1" dirty="0" err="1"/>
              <a:t>đào</a:t>
            </a:r>
            <a:r>
              <a:rPr lang="en-US" b="1" dirty="0"/>
              <a:t> </a:t>
            </a:r>
            <a:r>
              <a:rPr lang="en-US" b="1" dirty="0" err="1"/>
              <a:t>tạo</a:t>
            </a:r>
            <a:r>
              <a:rPr lang="en-US" b="1" dirty="0"/>
              <a:t> -&gt; 100% chi </a:t>
            </a:r>
            <a:r>
              <a:rPr lang="en-US" b="1" dirty="0" err="1"/>
              <a:t>phí</a:t>
            </a:r>
            <a:r>
              <a:rPr lang="en-US" b="1" dirty="0"/>
              <a:t> , benefits.</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rPr>
              <a:t>Improve the material and spiritual life for employees</a:t>
            </a:r>
            <a:endParaRPr lang="en-US" sz="1200" b="1" dirty="0">
              <a:solidFill>
                <a:schemeClr val="accent1"/>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fld id="{63AD896D-67B8-4E03-98DA-14B9F07ADB7F}" type="slidenum">
              <a:rPr lang="en-US" smtClean="0"/>
              <a:t>21</a:t>
            </a:fld>
            <a:endParaRPr lang="en-US"/>
          </a:p>
        </p:txBody>
      </p:sp>
    </p:spTree>
    <p:extLst>
      <p:ext uri="{BB962C8B-B14F-4D97-AF65-F5344CB8AC3E}">
        <p14:creationId xmlns:p14="http://schemas.microsoft.com/office/powerpoint/2010/main" val="2331644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a:t>1. quality: </a:t>
            </a:r>
            <a:r>
              <a:rPr lang="en-US" b="1" dirty="0" err="1"/>
              <a:t>LĐ</a:t>
            </a:r>
            <a:r>
              <a:rPr lang="en-US" b="1" dirty="0"/>
              <a:t> </a:t>
            </a:r>
            <a:r>
              <a:rPr lang="en-US" b="1" dirty="0" err="1"/>
              <a:t>nữ</a:t>
            </a:r>
            <a:r>
              <a:rPr lang="en-US" b="1" dirty="0"/>
              <a:t> </a:t>
            </a:r>
            <a:r>
              <a:rPr lang="en-US" b="1" dirty="0" err="1"/>
              <a:t>từ</a:t>
            </a:r>
            <a:r>
              <a:rPr lang="en-US" b="1" dirty="0"/>
              <a:t> 12,9% -&gt; 15% </a:t>
            </a:r>
          </a:p>
          <a:p>
            <a:r>
              <a:rPr lang="en-US" dirty="0"/>
              <a:t>2. </a:t>
            </a:r>
            <a:r>
              <a:rPr lang="en-US" b="1" dirty="0">
                <a:highlight>
                  <a:srgbClr val="FFFF00"/>
                </a:highlight>
              </a:rPr>
              <a:t>view, interact, </a:t>
            </a:r>
            <a:r>
              <a:rPr lang="en-GB" sz="1200" b="1" dirty="0">
                <a:solidFill>
                  <a:schemeClr val="accent1"/>
                </a:solidFill>
              </a:rPr>
              <a:t>Take more care of workers’ children in various forms</a:t>
            </a:r>
            <a:endParaRPr lang="en-US" b="1" dirty="0">
              <a:highlight>
                <a:srgbClr val="FFFF00"/>
              </a:highlight>
            </a:endParaRPr>
          </a:p>
          <a:p>
            <a:r>
              <a:rPr lang="en-US" b="1" dirty="0">
                <a:highlight>
                  <a:srgbClr val="FFFF00"/>
                </a:highlight>
              </a:rPr>
              <a:t>3. </a:t>
            </a:r>
            <a:r>
              <a:rPr lang="en-US" b="1" dirty="0" err="1"/>
              <a:t>EVN</a:t>
            </a:r>
            <a:r>
              <a:rPr lang="en-US" b="1" dirty="0"/>
              <a:t> master plan (forced 15% </a:t>
            </a:r>
            <a:r>
              <a:rPr lang="en-US" b="1" dirty="0" err="1"/>
              <a:t>nữ</a:t>
            </a:r>
            <a:r>
              <a:rPr lang="en-US" b="1" dirty="0"/>
              <a:t> </a:t>
            </a:r>
            <a:r>
              <a:rPr lang="en-US" b="1" dirty="0" err="1"/>
              <a:t>quản</a:t>
            </a:r>
            <a:r>
              <a:rPr lang="en-US" b="1" dirty="0"/>
              <a:t> </a:t>
            </a:r>
            <a:r>
              <a:rPr lang="en-US" b="1" dirty="0" err="1"/>
              <a:t>lý</a:t>
            </a:r>
            <a:r>
              <a:rPr lang="en-US" b="1" dirty="0"/>
              <a:t>), </a:t>
            </a:r>
            <a:r>
              <a:rPr lang="en-US" b="1" dirty="0" err="1"/>
              <a:t>sự</a:t>
            </a:r>
            <a:r>
              <a:rPr lang="en-US" b="1" dirty="0"/>
              <a:t> </a:t>
            </a:r>
            <a:r>
              <a:rPr lang="en-US" b="1" dirty="0" err="1"/>
              <a:t>quan</a:t>
            </a:r>
            <a:r>
              <a:rPr lang="en-US" b="1" dirty="0"/>
              <a:t> </a:t>
            </a:r>
            <a:r>
              <a:rPr lang="en-US" b="1" dirty="0" err="1"/>
              <a:t>tâm</a:t>
            </a:r>
            <a:r>
              <a:rPr lang="en-US" b="1" dirty="0"/>
              <a:t> &amp; </a:t>
            </a:r>
            <a:r>
              <a:rPr lang="en-US" b="1" dirty="0" err="1"/>
              <a:t>thực</a:t>
            </a:r>
            <a:r>
              <a:rPr lang="en-US" b="1" dirty="0"/>
              <a:t> </a:t>
            </a:r>
            <a:r>
              <a:rPr lang="en-US" b="1" dirty="0" err="1"/>
              <a:t>thi</a:t>
            </a:r>
            <a:r>
              <a:rPr lang="en-US" b="1" dirty="0"/>
              <a:t> </a:t>
            </a:r>
            <a:r>
              <a:rPr lang="en-US" b="1" dirty="0" err="1"/>
              <a:t>của</a:t>
            </a:r>
            <a:r>
              <a:rPr lang="en-US" b="1" dirty="0"/>
              <a:t> </a:t>
            </a:r>
            <a:r>
              <a:rPr lang="en-US" b="1" dirty="0" err="1"/>
              <a:t>LÃnh</a:t>
            </a:r>
            <a:r>
              <a:rPr lang="en-US" b="1" dirty="0"/>
              <a:t> </a:t>
            </a:r>
            <a:r>
              <a:rPr lang="en-US" b="1" dirty="0" err="1"/>
              <a:t>đạo</a:t>
            </a:r>
            <a:r>
              <a:rPr lang="en-US" b="1" dirty="0"/>
              <a:t> </a:t>
            </a:r>
            <a:r>
              <a:rPr lang="en-US" b="1" dirty="0" err="1"/>
              <a:t>các</a:t>
            </a:r>
            <a:r>
              <a:rPr lang="en-US" b="1" dirty="0"/>
              <a:t> </a:t>
            </a:r>
            <a:r>
              <a:rPr lang="en-US" b="1" dirty="0" err="1"/>
              <a:t>đơn</a:t>
            </a:r>
            <a:r>
              <a:rPr lang="en-US" b="1" dirty="0"/>
              <a:t> </a:t>
            </a:r>
            <a:r>
              <a:rPr lang="en-US" b="1" dirty="0" err="1"/>
              <a:t>vị</a:t>
            </a:r>
            <a:r>
              <a:rPr lang="en-US" b="1" dirty="0"/>
              <a:t> </a:t>
            </a:r>
            <a:r>
              <a:rPr lang="en-US" b="1" dirty="0" err="1"/>
              <a:t>thành</a:t>
            </a:r>
            <a:r>
              <a:rPr lang="en-US" b="1" dirty="0"/>
              <a:t> </a:t>
            </a:r>
            <a:r>
              <a:rPr lang="en-US" b="1" dirty="0" err="1"/>
              <a:t>viên</a:t>
            </a:r>
            <a:r>
              <a:rPr lang="en-US" b="1"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accent1"/>
              </a:solidFill>
            </a:endParaRPr>
          </a:p>
          <a:p>
            <a:endParaRPr lang="en-US" dirty="0"/>
          </a:p>
        </p:txBody>
      </p:sp>
      <p:sp>
        <p:nvSpPr>
          <p:cNvPr id="4" name="Slide Number Placeholder 3"/>
          <p:cNvSpPr>
            <a:spLocks noGrp="1"/>
          </p:cNvSpPr>
          <p:nvPr>
            <p:ph type="sldNum" sz="quarter" idx="5"/>
          </p:nvPr>
        </p:nvSpPr>
        <p:spPr/>
        <p:txBody>
          <a:bodyPr/>
          <a:lstStyle/>
          <a:p>
            <a:fld id="{63AD896D-67B8-4E03-98DA-14B9F07ADB7F}" type="slidenum">
              <a:rPr lang="en-US" smtClean="0"/>
              <a:t>22</a:t>
            </a:fld>
            <a:endParaRPr lang="en-US"/>
          </a:p>
        </p:txBody>
      </p:sp>
    </p:spTree>
    <p:extLst>
      <p:ext uri="{BB962C8B-B14F-4D97-AF65-F5344CB8AC3E}">
        <p14:creationId xmlns:p14="http://schemas.microsoft.com/office/powerpoint/2010/main" val="865220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01C9A-A75C-449F-9997-D6FD9E019F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90CDB9-4912-434E-BFBB-CCB054C92B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D90D1A-1E82-4FFC-A895-9AB395BB6CD4}"/>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5" name="Footer Placeholder 4">
            <a:extLst>
              <a:ext uri="{FF2B5EF4-FFF2-40B4-BE49-F238E27FC236}">
                <a16:creationId xmlns:a16="http://schemas.microsoft.com/office/drawing/2014/main" id="{95A72659-BE55-426A-9357-1205699E2A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9779EA-3F9B-4920-9F4D-7B95C67ACA38}"/>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1538584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25B3F6-E21C-4F70-BEA9-7D78D635D4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5367D0-8D1F-4927-8640-9E148080B5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F2D9E4-B3A8-4463-9CAF-ABCC25C44893}"/>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5" name="Footer Placeholder 4">
            <a:extLst>
              <a:ext uri="{FF2B5EF4-FFF2-40B4-BE49-F238E27FC236}">
                <a16:creationId xmlns:a16="http://schemas.microsoft.com/office/drawing/2014/main" id="{D9CAA2E4-D159-4E3A-83DA-9CC327BDB7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3ED68B-214D-4EEF-80CC-543CDC082525}"/>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2137538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Contents slide layout">
    <p:spTree>
      <p:nvGrpSpPr>
        <p:cNvPr id="1" name=""/>
        <p:cNvGrpSpPr/>
        <p:nvPr/>
      </p:nvGrpSpPr>
      <p:grpSpPr>
        <a:xfrm>
          <a:off x="0" y="0"/>
          <a:ext cx="0" cy="0"/>
          <a:chOff x="0" y="0"/>
          <a:chExt cx="0" cy="0"/>
        </a:xfrm>
      </p:grpSpPr>
      <p:pic>
        <p:nvPicPr>
          <p:cNvPr id="10" name="Picture 9" descr="A group of stars in the sky&#10;&#10;Description automatically generated with low confidence">
            <a:extLst>
              <a:ext uri="{FF2B5EF4-FFF2-40B4-BE49-F238E27FC236}">
                <a16:creationId xmlns:a16="http://schemas.microsoft.com/office/drawing/2014/main" id="{F14897F2-C922-4B0A-801C-E2D586063D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015694" y="4610100"/>
            <a:ext cx="3176304" cy="2247899"/>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sp>
        <p:nvSpPr>
          <p:cNvPr id="13" name="Teardrop 12">
            <a:extLst>
              <a:ext uri="{FF2B5EF4-FFF2-40B4-BE49-F238E27FC236}">
                <a16:creationId xmlns:a16="http://schemas.microsoft.com/office/drawing/2014/main" id="{D4865054-F17C-44D6-9476-8C4B38B71140}"/>
              </a:ext>
            </a:extLst>
          </p:cNvPr>
          <p:cNvSpPr/>
          <p:nvPr userDrawn="1"/>
        </p:nvSpPr>
        <p:spPr>
          <a:xfrm>
            <a:off x="11541412" y="405700"/>
            <a:ext cx="356581" cy="356477"/>
          </a:xfrm>
          <a:prstGeom prst="teardrop">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Light"/>
            </a:endParaRPr>
          </a:p>
        </p:txBody>
      </p:sp>
      <p:sp>
        <p:nvSpPr>
          <p:cNvPr id="14" name="TextBox 13">
            <a:extLst>
              <a:ext uri="{FF2B5EF4-FFF2-40B4-BE49-F238E27FC236}">
                <a16:creationId xmlns:a16="http://schemas.microsoft.com/office/drawing/2014/main" id="{AC6EBB5E-66D4-4BF1-B98F-71FF29B8CF4C}"/>
              </a:ext>
            </a:extLst>
          </p:cNvPr>
          <p:cNvSpPr txBox="1"/>
          <p:nvPr userDrawn="1"/>
        </p:nvSpPr>
        <p:spPr>
          <a:xfrm>
            <a:off x="11533693" y="409841"/>
            <a:ext cx="391419" cy="307758"/>
          </a:xfrm>
          <a:prstGeom prst="rect">
            <a:avLst/>
          </a:prstGeom>
          <a:noFill/>
        </p:spPr>
        <p:txBody>
          <a:bodyPr wrap="none" lIns="91423" tIns="45711" rIns="91423" bIns="45711" rtlCol="0">
            <a:spAutoFit/>
          </a:bodyPr>
          <a:lstStyle/>
          <a:p>
            <a:pPr algn="ctr"/>
            <a:fld id="{260E2A6B-A809-4840-BF14-8648BC0BDF87}" type="slidenum">
              <a:rPr lang="id-ID" sz="1400" b="1" smtClean="0">
                <a:solidFill>
                  <a:schemeClr val="bg1"/>
                </a:solidFill>
                <a:latin typeface="Calibri Light"/>
                <a:cs typeface="Calibri Light"/>
              </a:rPr>
              <a:pPr algn="ctr"/>
              <a:t>‹#›</a:t>
            </a:fld>
            <a:endParaRPr lang="id-ID" sz="1400" dirty="0">
              <a:solidFill>
                <a:schemeClr val="bg1"/>
              </a:solidFill>
              <a:latin typeface="Calibri Light"/>
              <a:cs typeface="Calibri Light"/>
            </a:endParaRPr>
          </a:p>
        </p:txBody>
      </p:sp>
      <p:sp>
        <p:nvSpPr>
          <p:cNvPr id="6" name="Google Shape;59;p8">
            <a:extLst>
              <a:ext uri="{FF2B5EF4-FFF2-40B4-BE49-F238E27FC236}">
                <a16:creationId xmlns:a16="http://schemas.microsoft.com/office/drawing/2014/main" id="{38D36DEF-C276-4D06-AB4E-7C9451AB9E78}"/>
              </a:ext>
            </a:extLst>
          </p:cNvPr>
          <p:cNvSpPr/>
          <p:nvPr userDrawn="1"/>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7" name="Google Shape;60;p8">
            <a:extLst>
              <a:ext uri="{FF2B5EF4-FFF2-40B4-BE49-F238E27FC236}">
                <a16:creationId xmlns:a16="http://schemas.microsoft.com/office/drawing/2014/main" id="{FEFFE232-732C-48FB-80D6-67402241FB80}"/>
              </a:ext>
            </a:extLst>
          </p:cNvPr>
          <p:cNvSpPr/>
          <p:nvPr userDrawn="1"/>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8" name="Google Shape;61;p8">
            <a:extLst>
              <a:ext uri="{FF2B5EF4-FFF2-40B4-BE49-F238E27FC236}">
                <a16:creationId xmlns:a16="http://schemas.microsoft.com/office/drawing/2014/main" id="{E11F6DF0-0997-485A-B006-17F77AD9DCC4}"/>
              </a:ext>
            </a:extLst>
          </p:cNvPr>
          <p:cNvSpPr/>
          <p:nvPr userDrawn="1"/>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9" name="Google Shape;62;p8">
            <a:extLst>
              <a:ext uri="{FF2B5EF4-FFF2-40B4-BE49-F238E27FC236}">
                <a16:creationId xmlns:a16="http://schemas.microsoft.com/office/drawing/2014/main" id="{E4F3B6C4-B48B-4ED1-96C8-F660D9C71455}"/>
              </a:ext>
            </a:extLst>
          </p:cNvPr>
          <p:cNvSpPr/>
          <p:nvPr userDrawn="1"/>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Tree>
    <p:extLst>
      <p:ext uri="{BB962C8B-B14F-4D97-AF65-F5344CB8AC3E}">
        <p14:creationId xmlns:p14="http://schemas.microsoft.com/office/powerpoint/2010/main" val="465390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pic>
        <p:nvPicPr>
          <p:cNvPr id="10" name="Picture 9" descr="A group of stars in the sky&#10;&#10;Description automatically generated with low confidence">
            <a:extLst>
              <a:ext uri="{FF2B5EF4-FFF2-40B4-BE49-F238E27FC236}">
                <a16:creationId xmlns:a16="http://schemas.microsoft.com/office/drawing/2014/main" id="{F14897F2-C922-4B0A-801C-E2D586063D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80832" y="5505450"/>
            <a:ext cx="1911166" cy="1352549"/>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sp>
        <p:nvSpPr>
          <p:cNvPr id="13" name="Teardrop 12">
            <a:extLst>
              <a:ext uri="{FF2B5EF4-FFF2-40B4-BE49-F238E27FC236}">
                <a16:creationId xmlns:a16="http://schemas.microsoft.com/office/drawing/2014/main" id="{D4865054-F17C-44D6-9476-8C4B38B71140}"/>
              </a:ext>
            </a:extLst>
          </p:cNvPr>
          <p:cNvSpPr/>
          <p:nvPr userDrawn="1"/>
        </p:nvSpPr>
        <p:spPr>
          <a:xfrm>
            <a:off x="11541412" y="405700"/>
            <a:ext cx="356581" cy="356477"/>
          </a:xfrm>
          <a:prstGeom prst="teardrop">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Light"/>
            </a:endParaRPr>
          </a:p>
        </p:txBody>
      </p:sp>
      <p:sp>
        <p:nvSpPr>
          <p:cNvPr id="14" name="TextBox 13">
            <a:extLst>
              <a:ext uri="{FF2B5EF4-FFF2-40B4-BE49-F238E27FC236}">
                <a16:creationId xmlns:a16="http://schemas.microsoft.com/office/drawing/2014/main" id="{AC6EBB5E-66D4-4BF1-B98F-71FF29B8CF4C}"/>
              </a:ext>
            </a:extLst>
          </p:cNvPr>
          <p:cNvSpPr txBox="1"/>
          <p:nvPr userDrawn="1"/>
        </p:nvSpPr>
        <p:spPr>
          <a:xfrm>
            <a:off x="11533693" y="409841"/>
            <a:ext cx="391419" cy="307758"/>
          </a:xfrm>
          <a:prstGeom prst="rect">
            <a:avLst/>
          </a:prstGeom>
          <a:noFill/>
        </p:spPr>
        <p:txBody>
          <a:bodyPr wrap="none" lIns="91423" tIns="45711" rIns="91423" bIns="45711" rtlCol="0">
            <a:spAutoFit/>
          </a:bodyPr>
          <a:lstStyle/>
          <a:p>
            <a:pPr algn="ctr"/>
            <a:fld id="{260E2A6B-A809-4840-BF14-8648BC0BDF87}" type="slidenum">
              <a:rPr lang="id-ID" sz="1400" b="1" smtClean="0">
                <a:solidFill>
                  <a:schemeClr val="bg1"/>
                </a:solidFill>
                <a:latin typeface="Calibri Light"/>
                <a:cs typeface="Calibri Light"/>
              </a:rPr>
              <a:pPr algn="ctr"/>
              <a:t>‹#›</a:t>
            </a:fld>
            <a:endParaRPr lang="id-ID" sz="1400" dirty="0">
              <a:solidFill>
                <a:schemeClr val="bg1"/>
              </a:solidFill>
              <a:latin typeface="Calibri Light"/>
              <a:cs typeface="Calibri Light"/>
            </a:endParaRPr>
          </a:p>
        </p:txBody>
      </p:sp>
      <p:sp>
        <p:nvSpPr>
          <p:cNvPr id="6" name="Google Shape;59;p8">
            <a:extLst>
              <a:ext uri="{FF2B5EF4-FFF2-40B4-BE49-F238E27FC236}">
                <a16:creationId xmlns:a16="http://schemas.microsoft.com/office/drawing/2014/main" id="{38D36DEF-C276-4D06-AB4E-7C9451AB9E78}"/>
              </a:ext>
            </a:extLst>
          </p:cNvPr>
          <p:cNvSpPr/>
          <p:nvPr userDrawn="1"/>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7" name="Google Shape;60;p8">
            <a:extLst>
              <a:ext uri="{FF2B5EF4-FFF2-40B4-BE49-F238E27FC236}">
                <a16:creationId xmlns:a16="http://schemas.microsoft.com/office/drawing/2014/main" id="{FEFFE232-732C-48FB-80D6-67402241FB80}"/>
              </a:ext>
            </a:extLst>
          </p:cNvPr>
          <p:cNvSpPr/>
          <p:nvPr userDrawn="1"/>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8" name="Google Shape;61;p8">
            <a:extLst>
              <a:ext uri="{FF2B5EF4-FFF2-40B4-BE49-F238E27FC236}">
                <a16:creationId xmlns:a16="http://schemas.microsoft.com/office/drawing/2014/main" id="{E11F6DF0-0997-485A-B006-17F77AD9DCC4}"/>
              </a:ext>
            </a:extLst>
          </p:cNvPr>
          <p:cNvSpPr/>
          <p:nvPr userDrawn="1"/>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9" name="Google Shape;62;p8">
            <a:extLst>
              <a:ext uri="{FF2B5EF4-FFF2-40B4-BE49-F238E27FC236}">
                <a16:creationId xmlns:a16="http://schemas.microsoft.com/office/drawing/2014/main" id="{E4F3B6C4-B48B-4ED1-96C8-F660D9C71455}"/>
              </a:ext>
            </a:extLst>
          </p:cNvPr>
          <p:cNvSpPr/>
          <p:nvPr userDrawn="1"/>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Tree>
    <p:extLst>
      <p:ext uri="{BB962C8B-B14F-4D97-AF65-F5344CB8AC3E}">
        <p14:creationId xmlns:p14="http://schemas.microsoft.com/office/powerpoint/2010/main" val="10767077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973300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5017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67984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Our Team LAYOUT</a:t>
            </a:r>
          </a:p>
        </p:txBody>
      </p:sp>
      <p:sp>
        <p:nvSpPr>
          <p:cNvPr id="4" name="Picture Placeholder 56">
            <a:extLst>
              <a:ext uri="{FF2B5EF4-FFF2-40B4-BE49-F238E27FC236}">
                <a16:creationId xmlns:a16="http://schemas.microsoft.com/office/drawing/2014/main" id="{F97109D2-AF55-4C66-8EC9-26DF85868362}"/>
              </a:ext>
            </a:extLst>
          </p:cNvPr>
          <p:cNvSpPr>
            <a:spLocks noGrp="1"/>
          </p:cNvSpPr>
          <p:nvPr>
            <p:ph type="pic" sz="quarter" idx="16" hasCustomPrompt="1"/>
          </p:nvPr>
        </p:nvSpPr>
        <p:spPr>
          <a:xfrm>
            <a:off x="996902" y="1552394"/>
            <a:ext cx="2800402" cy="2800402"/>
          </a:xfrm>
          <a:prstGeom prst="ellipse">
            <a:avLst/>
          </a:prstGeom>
          <a:solidFill>
            <a:schemeClr val="bg1">
              <a:lumMod val="95000"/>
            </a:schemeClr>
          </a:solidFill>
          <a:ln w="19050">
            <a:noFill/>
          </a:ln>
        </p:spPr>
        <p:txBody>
          <a:bodyPr wrap="square" anchor="ctr">
            <a:noAutofit/>
          </a:bodyPr>
          <a:lstStyle>
            <a:lvl1pPr marL="0" indent="0" algn="ctr">
              <a:lnSpc>
                <a:spcPct val="100000"/>
              </a:lnSpc>
              <a:buNone/>
              <a:defRPr sz="1200">
                <a:solidFill>
                  <a:schemeClr val="tx1">
                    <a:lumMod val="75000"/>
                    <a:lumOff val="25000"/>
                  </a:schemeClr>
                </a:solidFill>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3687471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9_Contents slide layout">
    <p:spTree>
      <p:nvGrpSpPr>
        <p:cNvPr id="1" name=""/>
        <p:cNvGrpSpPr/>
        <p:nvPr/>
      </p:nvGrpSpPr>
      <p:grpSpPr>
        <a:xfrm>
          <a:off x="0" y="0"/>
          <a:ext cx="0" cy="0"/>
          <a:chOff x="0" y="0"/>
          <a:chExt cx="0" cy="0"/>
        </a:xfrm>
      </p:grpSpPr>
      <p:sp>
        <p:nvSpPr>
          <p:cNvPr id="2" name="그림 개체 틀 2">
            <a:extLst>
              <a:ext uri="{FF2B5EF4-FFF2-40B4-BE49-F238E27FC236}">
                <a16:creationId xmlns:a16="http://schemas.microsoft.com/office/drawing/2014/main" id="{177E02B4-A751-4DC8-B44F-BB87A3DE0B1C}"/>
              </a:ext>
            </a:extLst>
          </p:cNvPr>
          <p:cNvSpPr>
            <a:spLocks noGrp="1"/>
          </p:cNvSpPr>
          <p:nvPr>
            <p:ph type="pic" sz="quarter" idx="14" hasCustomPrompt="1"/>
          </p:nvPr>
        </p:nvSpPr>
        <p:spPr>
          <a:xfrm>
            <a:off x="6096000" y="0"/>
            <a:ext cx="6096000"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ko-KR" altLang="en-US" sz="1800">
                <a:solidFill>
                  <a:schemeClr val="tx1">
                    <a:lumMod val="75000"/>
                    <a:lumOff val="2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tLang="ko-KR" dirty="0"/>
              <a:t>Place Your Picture Here Send To Back</a:t>
            </a:r>
            <a:endParaRPr lang="ko-KR" altLang="en-US" dirty="0"/>
          </a:p>
        </p:txBody>
      </p:sp>
    </p:spTree>
    <p:extLst>
      <p:ext uri="{BB962C8B-B14F-4D97-AF65-F5344CB8AC3E}">
        <p14:creationId xmlns:p14="http://schemas.microsoft.com/office/powerpoint/2010/main" val="2653643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46710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Image slide layout">
    <p:spTree>
      <p:nvGrpSpPr>
        <p:cNvPr id="1" name=""/>
        <p:cNvGrpSpPr/>
        <p:nvPr/>
      </p:nvGrpSpPr>
      <p:grpSpPr>
        <a:xfrm>
          <a:off x="0" y="0"/>
          <a:ext cx="0" cy="0"/>
          <a:chOff x="0" y="0"/>
          <a:chExt cx="0" cy="0"/>
        </a:xfrm>
      </p:grpSpPr>
      <p:sp>
        <p:nvSpPr>
          <p:cNvPr id="14" name="그림 개체 틀 2">
            <a:extLst>
              <a:ext uri="{FF2B5EF4-FFF2-40B4-BE49-F238E27FC236}">
                <a16:creationId xmlns:a16="http://schemas.microsoft.com/office/drawing/2014/main" id="{42980F6D-A868-4A50-9975-6D38EF3EF1D5}"/>
              </a:ext>
            </a:extLst>
          </p:cNvPr>
          <p:cNvSpPr>
            <a:spLocks noGrp="1"/>
          </p:cNvSpPr>
          <p:nvPr>
            <p:ph type="pic" sz="quarter" idx="48" hasCustomPrompt="1"/>
          </p:nvPr>
        </p:nvSpPr>
        <p:spPr>
          <a:xfrm rot="694714">
            <a:off x="4965143" y="1215344"/>
            <a:ext cx="3256876" cy="2239102"/>
          </a:xfrm>
          <a:prstGeom prst="rect">
            <a:avLst/>
          </a:prstGeom>
          <a:solidFill>
            <a:schemeClr val="bg1">
              <a:lumMod val="95000"/>
            </a:schemeClr>
          </a:solidFill>
          <a:ln w="95250" cap="flat">
            <a:solidFill>
              <a:schemeClr val="bg1"/>
            </a:solidFill>
            <a:miter lim="800000"/>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5" name="그림 개체 틀 2">
            <a:extLst>
              <a:ext uri="{FF2B5EF4-FFF2-40B4-BE49-F238E27FC236}">
                <a16:creationId xmlns:a16="http://schemas.microsoft.com/office/drawing/2014/main" id="{12852147-F4BC-4002-8D9B-559F42913C6B}"/>
              </a:ext>
            </a:extLst>
          </p:cNvPr>
          <p:cNvSpPr>
            <a:spLocks noGrp="1"/>
          </p:cNvSpPr>
          <p:nvPr>
            <p:ph type="pic" sz="quarter" idx="49" hasCustomPrompt="1"/>
          </p:nvPr>
        </p:nvSpPr>
        <p:spPr>
          <a:xfrm rot="21398040">
            <a:off x="8011850" y="2309449"/>
            <a:ext cx="3256876" cy="2239102"/>
          </a:xfrm>
          <a:prstGeom prst="rect">
            <a:avLst/>
          </a:prstGeom>
          <a:solidFill>
            <a:schemeClr val="bg1">
              <a:lumMod val="95000"/>
            </a:schemeClr>
          </a:solidFill>
          <a:ln w="95250" cap="flat">
            <a:solidFill>
              <a:schemeClr val="bg1"/>
            </a:solidFill>
            <a:miter lim="800000"/>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16" name="그림 개체 틀 2">
            <a:extLst>
              <a:ext uri="{FF2B5EF4-FFF2-40B4-BE49-F238E27FC236}">
                <a16:creationId xmlns:a16="http://schemas.microsoft.com/office/drawing/2014/main" id="{6A8E4311-9832-4868-9218-82FDF254D169}"/>
              </a:ext>
            </a:extLst>
          </p:cNvPr>
          <p:cNvSpPr>
            <a:spLocks noGrp="1"/>
          </p:cNvSpPr>
          <p:nvPr>
            <p:ph type="pic" sz="quarter" idx="50" hasCustomPrompt="1"/>
          </p:nvPr>
        </p:nvSpPr>
        <p:spPr>
          <a:xfrm rot="20741363">
            <a:off x="4999774" y="3597041"/>
            <a:ext cx="3256876" cy="2239102"/>
          </a:xfrm>
          <a:prstGeom prst="rect">
            <a:avLst/>
          </a:prstGeom>
          <a:solidFill>
            <a:schemeClr val="bg1">
              <a:lumMod val="95000"/>
            </a:schemeClr>
          </a:solidFill>
          <a:ln w="95250" cap="flat">
            <a:solidFill>
              <a:schemeClr val="bg1"/>
            </a:solidFill>
            <a:miter lim="800000"/>
          </a:ln>
          <a:effectLst>
            <a:outerShdw blurRad="63500" sx="102000" sy="102000" algn="ctr"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Tree>
    <p:extLst>
      <p:ext uri="{BB962C8B-B14F-4D97-AF65-F5344CB8AC3E}">
        <p14:creationId xmlns:p14="http://schemas.microsoft.com/office/powerpoint/2010/main" val="337370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420B4-8659-444E-A265-900C7CF763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2C5C6A-C8BE-4DAC-8CF5-48B888B4AD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63DFC3-DB42-4EDA-B205-7F07DEABA09A}"/>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5" name="Footer Placeholder 4">
            <a:extLst>
              <a:ext uri="{FF2B5EF4-FFF2-40B4-BE49-F238E27FC236}">
                <a16:creationId xmlns:a16="http://schemas.microsoft.com/office/drawing/2014/main" id="{9B7354BA-8E1E-4C55-AD3F-085D1BEA17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59CB7C-02BE-4BD1-89F2-BB3012DB5472}"/>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9091738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9624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Contents slide layout">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5CDBDF12-0D0A-4120-9352-A375865B1AAF}"/>
              </a:ext>
            </a:extLst>
          </p:cNvPr>
          <p:cNvSpPr/>
          <p:nvPr userDrawn="1"/>
        </p:nvSpPr>
        <p:spPr>
          <a:xfrm rot="16200000">
            <a:off x="3398310" y="-1937447"/>
            <a:ext cx="5396539" cy="12208258"/>
          </a:xfrm>
          <a:custGeom>
            <a:avLst/>
            <a:gdLst>
              <a:gd name="connsiteX0" fmla="*/ 0 w 5652120"/>
              <a:gd name="connsiteY0" fmla="*/ 5652120 h 5652120"/>
              <a:gd name="connsiteX1" fmla="*/ 0 w 5652120"/>
              <a:gd name="connsiteY1" fmla="*/ 0 h 5652120"/>
              <a:gd name="connsiteX2" fmla="*/ 5652120 w 5652120"/>
              <a:gd name="connsiteY2" fmla="*/ 5652120 h 5652120"/>
              <a:gd name="connsiteX3" fmla="*/ 0 w 5652120"/>
              <a:gd name="connsiteY3" fmla="*/ 5652120 h 5652120"/>
              <a:gd name="connsiteX0" fmla="*/ 9525 w 5661645"/>
              <a:gd name="connsiteY0" fmla="*/ 9195420 h 9195420"/>
              <a:gd name="connsiteX1" fmla="*/ 0 w 5661645"/>
              <a:gd name="connsiteY1" fmla="*/ 0 h 9195420"/>
              <a:gd name="connsiteX2" fmla="*/ 5661645 w 5661645"/>
              <a:gd name="connsiteY2" fmla="*/ 9195420 h 9195420"/>
              <a:gd name="connsiteX3" fmla="*/ 9525 w 5661645"/>
              <a:gd name="connsiteY3" fmla="*/ 9195420 h 9195420"/>
              <a:gd name="connsiteX0" fmla="*/ 9525 w 5661645"/>
              <a:gd name="connsiteY0" fmla="*/ 9373173 h 9373173"/>
              <a:gd name="connsiteX1" fmla="*/ 0 w 5661645"/>
              <a:gd name="connsiteY1" fmla="*/ 177753 h 9373173"/>
              <a:gd name="connsiteX2" fmla="*/ 1419226 w 5661645"/>
              <a:gd name="connsiteY2" fmla="*/ 229173 h 9373173"/>
              <a:gd name="connsiteX3" fmla="*/ 5661645 w 5661645"/>
              <a:gd name="connsiteY3" fmla="*/ 9373173 h 9373173"/>
              <a:gd name="connsiteX4" fmla="*/ 9525 w 5661645"/>
              <a:gd name="connsiteY4" fmla="*/ 9373173 h 9373173"/>
              <a:gd name="connsiteX0" fmla="*/ 9525 w 5661645"/>
              <a:gd name="connsiteY0" fmla="*/ 9195420 h 9195420"/>
              <a:gd name="connsiteX1" fmla="*/ 0 w 5661645"/>
              <a:gd name="connsiteY1" fmla="*/ 0 h 9195420"/>
              <a:gd name="connsiteX2" fmla="*/ 1419226 w 5661645"/>
              <a:gd name="connsiteY2" fmla="*/ 51420 h 9195420"/>
              <a:gd name="connsiteX3" fmla="*/ 5661645 w 5661645"/>
              <a:gd name="connsiteY3" fmla="*/ 9195420 h 9195420"/>
              <a:gd name="connsiteX4" fmla="*/ 9525 w 5661645"/>
              <a:gd name="connsiteY4" fmla="*/ 9195420 h 9195420"/>
              <a:gd name="connsiteX0" fmla="*/ 9525 w 5661645"/>
              <a:gd name="connsiteY0" fmla="*/ 9195420 h 9195420"/>
              <a:gd name="connsiteX1" fmla="*/ 0 w 5661645"/>
              <a:gd name="connsiteY1" fmla="*/ 0 h 9195420"/>
              <a:gd name="connsiteX2" fmla="*/ 1419226 w 5661645"/>
              <a:gd name="connsiteY2" fmla="*/ 51420 h 9195420"/>
              <a:gd name="connsiteX3" fmla="*/ 5661645 w 5661645"/>
              <a:gd name="connsiteY3" fmla="*/ 9195420 h 9195420"/>
              <a:gd name="connsiteX4" fmla="*/ 9525 w 5661645"/>
              <a:gd name="connsiteY4" fmla="*/ 9195420 h 9195420"/>
              <a:gd name="connsiteX0" fmla="*/ 19050 w 5671170"/>
              <a:gd name="connsiteY0" fmla="*/ 9145220 h 9145220"/>
              <a:gd name="connsiteX1" fmla="*/ 0 w 5671170"/>
              <a:gd name="connsiteY1" fmla="*/ 16475 h 9145220"/>
              <a:gd name="connsiteX2" fmla="*/ 1428751 w 5671170"/>
              <a:gd name="connsiteY2" fmla="*/ 1220 h 9145220"/>
              <a:gd name="connsiteX3" fmla="*/ 5671170 w 5671170"/>
              <a:gd name="connsiteY3" fmla="*/ 9145220 h 9145220"/>
              <a:gd name="connsiteX4" fmla="*/ 19050 w 5671170"/>
              <a:gd name="connsiteY4" fmla="*/ 9145220 h 9145220"/>
              <a:gd name="connsiteX0" fmla="*/ 0 w 5652120"/>
              <a:gd name="connsiteY0" fmla="*/ 9166845 h 9166845"/>
              <a:gd name="connsiteX1" fmla="*/ 0 w 5652120"/>
              <a:gd name="connsiteY1" fmla="*/ 0 h 9166845"/>
              <a:gd name="connsiteX2" fmla="*/ 1409701 w 5652120"/>
              <a:gd name="connsiteY2" fmla="*/ 22845 h 9166845"/>
              <a:gd name="connsiteX3" fmla="*/ 5652120 w 5652120"/>
              <a:gd name="connsiteY3" fmla="*/ 9166845 h 9166845"/>
              <a:gd name="connsiteX4" fmla="*/ 0 w 5652120"/>
              <a:gd name="connsiteY4" fmla="*/ 9166845 h 9166845"/>
              <a:gd name="connsiteX0" fmla="*/ 0 w 5652120"/>
              <a:gd name="connsiteY0" fmla="*/ 9166845 h 9166845"/>
              <a:gd name="connsiteX1" fmla="*/ 0 w 5652120"/>
              <a:gd name="connsiteY1" fmla="*/ 0 h 9166845"/>
              <a:gd name="connsiteX2" fmla="*/ 1409701 w 5652120"/>
              <a:gd name="connsiteY2" fmla="*/ 22845 h 9166845"/>
              <a:gd name="connsiteX3" fmla="*/ 5652120 w 5652120"/>
              <a:gd name="connsiteY3" fmla="*/ 9166845 h 9166845"/>
              <a:gd name="connsiteX4" fmla="*/ 0 w 5652120"/>
              <a:gd name="connsiteY4" fmla="*/ 9166845 h 9166845"/>
              <a:gd name="connsiteX0" fmla="*/ 0 w 5652120"/>
              <a:gd name="connsiteY0" fmla="*/ 9145072 h 9145072"/>
              <a:gd name="connsiteX1" fmla="*/ 0 w 5652120"/>
              <a:gd name="connsiteY1" fmla="*/ 35377 h 9145072"/>
              <a:gd name="connsiteX2" fmla="*/ 1409701 w 5652120"/>
              <a:gd name="connsiteY2" fmla="*/ 1072 h 9145072"/>
              <a:gd name="connsiteX3" fmla="*/ 5652120 w 5652120"/>
              <a:gd name="connsiteY3" fmla="*/ 9145072 h 9145072"/>
              <a:gd name="connsiteX4" fmla="*/ 0 w 5652120"/>
              <a:gd name="connsiteY4" fmla="*/ 9145072 h 9145072"/>
              <a:gd name="connsiteX0" fmla="*/ 0 w 5652120"/>
              <a:gd name="connsiteY0" fmla="*/ 9157320 h 9157320"/>
              <a:gd name="connsiteX1" fmla="*/ 19050 w 5652120"/>
              <a:gd name="connsiteY1" fmla="*/ 0 h 9157320"/>
              <a:gd name="connsiteX2" fmla="*/ 1409701 w 5652120"/>
              <a:gd name="connsiteY2" fmla="*/ 13320 h 9157320"/>
              <a:gd name="connsiteX3" fmla="*/ 5652120 w 5652120"/>
              <a:gd name="connsiteY3" fmla="*/ 9157320 h 9157320"/>
              <a:gd name="connsiteX4" fmla="*/ 0 w 5652120"/>
              <a:gd name="connsiteY4" fmla="*/ 9157320 h 9157320"/>
              <a:gd name="connsiteX0" fmla="*/ 11285 w 5663405"/>
              <a:gd name="connsiteY0" fmla="*/ 9152986 h 9152986"/>
              <a:gd name="connsiteX1" fmla="*/ 0 w 5663405"/>
              <a:gd name="connsiteY1" fmla="*/ 0 h 9152986"/>
              <a:gd name="connsiteX2" fmla="*/ 1420986 w 5663405"/>
              <a:gd name="connsiteY2" fmla="*/ 8986 h 9152986"/>
              <a:gd name="connsiteX3" fmla="*/ 5663405 w 5663405"/>
              <a:gd name="connsiteY3" fmla="*/ 9152986 h 9152986"/>
              <a:gd name="connsiteX4" fmla="*/ 11285 w 5663405"/>
              <a:gd name="connsiteY4" fmla="*/ 9152986 h 9152986"/>
              <a:gd name="connsiteX0" fmla="*/ 6951 w 5659071"/>
              <a:gd name="connsiteY0" fmla="*/ 9145466 h 9145466"/>
              <a:gd name="connsiteX1" fmla="*/ 0 w 5659071"/>
              <a:gd name="connsiteY1" fmla="*/ 14148 h 9145466"/>
              <a:gd name="connsiteX2" fmla="*/ 1416652 w 5659071"/>
              <a:gd name="connsiteY2" fmla="*/ 1466 h 9145466"/>
              <a:gd name="connsiteX3" fmla="*/ 5659071 w 5659071"/>
              <a:gd name="connsiteY3" fmla="*/ 9145466 h 9145466"/>
              <a:gd name="connsiteX4" fmla="*/ 6951 w 5659071"/>
              <a:gd name="connsiteY4" fmla="*/ 9145466 h 9145466"/>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48652 h 9148652"/>
              <a:gd name="connsiteX1" fmla="*/ 0 w 5659071"/>
              <a:gd name="connsiteY1" fmla="*/ 0 h 9148652"/>
              <a:gd name="connsiteX2" fmla="*/ 1416652 w 5659071"/>
              <a:gd name="connsiteY2" fmla="*/ 4652 h 9148652"/>
              <a:gd name="connsiteX3" fmla="*/ 5659071 w 5659071"/>
              <a:gd name="connsiteY3" fmla="*/ 9148652 h 9148652"/>
              <a:gd name="connsiteX4" fmla="*/ 6951 w 5659071"/>
              <a:gd name="connsiteY4" fmla="*/ 9148652 h 9148652"/>
              <a:gd name="connsiteX0" fmla="*/ 6951 w 5659071"/>
              <a:gd name="connsiteY0" fmla="*/ 9150135 h 9150135"/>
              <a:gd name="connsiteX1" fmla="*/ 0 w 5659071"/>
              <a:gd name="connsiteY1" fmla="*/ 1483 h 9150135"/>
              <a:gd name="connsiteX2" fmla="*/ 1416652 w 5659071"/>
              <a:gd name="connsiteY2" fmla="*/ 6135 h 9150135"/>
              <a:gd name="connsiteX3" fmla="*/ 5659071 w 5659071"/>
              <a:gd name="connsiteY3" fmla="*/ 9150135 h 9150135"/>
              <a:gd name="connsiteX4" fmla="*/ 6951 w 5659071"/>
              <a:gd name="connsiteY4" fmla="*/ 9150135 h 9150135"/>
              <a:gd name="connsiteX0" fmla="*/ 6951 w 5659071"/>
              <a:gd name="connsiteY0" fmla="*/ 9161156 h 9161156"/>
              <a:gd name="connsiteX1" fmla="*/ 0 w 5659071"/>
              <a:gd name="connsiteY1" fmla="*/ 12504 h 9161156"/>
              <a:gd name="connsiteX2" fmla="*/ 1412318 w 5659071"/>
              <a:gd name="connsiteY2" fmla="*/ 4155 h 9161156"/>
              <a:gd name="connsiteX3" fmla="*/ 5659071 w 5659071"/>
              <a:gd name="connsiteY3" fmla="*/ 9161156 h 9161156"/>
              <a:gd name="connsiteX4" fmla="*/ 6951 w 5659071"/>
              <a:gd name="connsiteY4" fmla="*/ 9161156 h 9161156"/>
              <a:gd name="connsiteX0" fmla="*/ 6951 w 5659071"/>
              <a:gd name="connsiteY0" fmla="*/ 9157001 h 9157001"/>
              <a:gd name="connsiteX1" fmla="*/ 0 w 5659071"/>
              <a:gd name="connsiteY1" fmla="*/ 8349 h 9157001"/>
              <a:gd name="connsiteX2" fmla="*/ 1412318 w 5659071"/>
              <a:gd name="connsiteY2" fmla="*/ 0 h 9157001"/>
              <a:gd name="connsiteX3" fmla="*/ 5659071 w 5659071"/>
              <a:gd name="connsiteY3" fmla="*/ 9157001 h 9157001"/>
              <a:gd name="connsiteX4" fmla="*/ 6951 w 5659071"/>
              <a:gd name="connsiteY4" fmla="*/ 9157001 h 9157001"/>
              <a:gd name="connsiteX0" fmla="*/ 6951 w 5659071"/>
              <a:gd name="connsiteY0" fmla="*/ 9157001 h 9157001"/>
              <a:gd name="connsiteX1" fmla="*/ 0 w 5659071"/>
              <a:gd name="connsiteY1" fmla="*/ 8349 h 9157001"/>
              <a:gd name="connsiteX2" fmla="*/ 1412318 w 5659071"/>
              <a:gd name="connsiteY2" fmla="*/ 0 h 9157001"/>
              <a:gd name="connsiteX3" fmla="*/ 5659071 w 5659071"/>
              <a:gd name="connsiteY3" fmla="*/ 9157001 h 9157001"/>
              <a:gd name="connsiteX4" fmla="*/ 6951 w 5659071"/>
              <a:gd name="connsiteY4" fmla="*/ 9157001 h 9157001"/>
              <a:gd name="connsiteX0" fmla="*/ 6951 w 5659071"/>
              <a:gd name="connsiteY0" fmla="*/ 9150469 h 9150469"/>
              <a:gd name="connsiteX1" fmla="*/ 0 w 5659071"/>
              <a:gd name="connsiteY1" fmla="*/ 1817 h 9150469"/>
              <a:gd name="connsiteX2" fmla="*/ 1220231 w 5659071"/>
              <a:gd name="connsiteY2" fmla="*/ 0 h 9150469"/>
              <a:gd name="connsiteX3" fmla="*/ 5659071 w 5659071"/>
              <a:gd name="connsiteY3" fmla="*/ 9150469 h 9150469"/>
              <a:gd name="connsiteX4" fmla="*/ 6951 w 5659071"/>
              <a:gd name="connsiteY4" fmla="*/ 9150469 h 9150469"/>
              <a:gd name="connsiteX0" fmla="*/ 6951 w 5659071"/>
              <a:gd name="connsiteY0" fmla="*/ 9150469 h 9150469"/>
              <a:gd name="connsiteX1" fmla="*/ 0 w 5659071"/>
              <a:gd name="connsiteY1" fmla="*/ 1817 h 9150469"/>
              <a:gd name="connsiteX2" fmla="*/ 1119613 w 5659071"/>
              <a:gd name="connsiteY2" fmla="*/ 0 h 9150469"/>
              <a:gd name="connsiteX3" fmla="*/ 5659071 w 5659071"/>
              <a:gd name="connsiteY3" fmla="*/ 9150469 h 9150469"/>
              <a:gd name="connsiteX4" fmla="*/ 6951 w 5659071"/>
              <a:gd name="connsiteY4" fmla="*/ 9150469 h 9150469"/>
              <a:gd name="connsiteX0" fmla="*/ 6951 w 5896893"/>
              <a:gd name="connsiteY0" fmla="*/ 9150469 h 9157000"/>
              <a:gd name="connsiteX1" fmla="*/ 0 w 5896893"/>
              <a:gd name="connsiteY1" fmla="*/ 1817 h 9157000"/>
              <a:gd name="connsiteX2" fmla="*/ 1119613 w 5896893"/>
              <a:gd name="connsiteY2" fmla="*/ 0 h 9157000"/>
              <a:gd name="connsiteX3" fmla="*/ 5896893 w 5896893"/>
              <a:gd name="connsiteY3" fmla="*/ 9157000 h 9157000"/>
              <a:gd name="connsiteX4" fmla="*/ 6951 w 5896893"/>
              <a:gd name="connsiteY4" fmla="*/ 9150469 h 9157000"/>
              <a:gd name="connsiteX0" fmla="*/ 6951 w 5896893"/>
              <a:gd name="connsiteY0" fmla="*/ 9150469 h 9157000"/>
              <a:gd name="connsiteX1" fmla="*/ 0 w 5896893"/>
              <a:gd name="connsiteY1" fmla="*/ 1817 h 9157000"/>
              <a:gd name="connsiteX2" fmla="*/ 836056 w 5896893"/>
              <a:gd name="connsiteY2" fmla="*/ 0 h 9157000"/>
              <a:gd name="connsiteX3" fmla="*/ 5896893 w 5896893"/>
              <a:gd name="connsiteY3" fmla="*/ 9157000 h 9157000"/>
              <a:gd name="connsiteX4" fmla="*/ 6951 w 5896893"/>
              <a:gd name="connsiteY4" fmla="*/ 9150469 h 9157000"/>
              <a:gd name="connsiteX0" fmla="*/ 6951 w 5896893"/>
              <a:gd name="connsiteY0" fmla="*/ 9148652 h 9155183"/>
              <a:gd name="connsiteX1" fmla="*/ 0 w 5896893"/>
              <a:gd name="connsiteY1" fmla="*/ 0 h 9155183"/>
              <a:gd name="connsiteX2" fmla="*/ 744587 w 5896893"/>
              <a:gd name="connsiteY2" fmla="*/ 4715 h 9155183"/>
              <a:gd name="connsiteX3" fmla="*/ 5896893 w 5896893"/>
              <a:gd name="connsiteY3" fmla="*/ 9155183 h 9155183"/>
              <a:gd name="connsiteX4" fmla="*/ 6951 w 5896893"/>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8652 h 9155183"/>
              <a:gd name="connsiteX1" fmla="*/ 0 w 5668219"/>
              <a:gd name="connsiteY1" fmla="*/ 0 h 9155183"/>
              <a:gd name="connsiteX2" fmla="*/ 744587 w 5668219"/>
              <a:gd name="connsiteY2" fmla="*/ 4715 h 9155183"/>
              <a:gd name="connsiteX3" fmla="*/ 5668219 w 5668219"/>
              <a:gd name="connsiteY3" fmla="*/ 9155183 h 9155183"/>
              <a:gd name="connsiteX4" fmla="*/ 6951 w 5668219"/>
              <a:gd name="connsiteY4" fmla="*/ 9148652 h 9155183"/>
              <a:gd name="connsiteX0" fmla="*/ 6951 w 5668219"/>
              <a:gd name="connsiteY0" fmla="*/ 9149662 h 9156193"/>
              <a:gd name="connsiteX1" fmla="*/ 0 w 5668219"/>
              <a:gd name="connsiteY1" fmla="*/ 1010 h 9156193"/>
              <a:gd name="connsiteX2" fmla="*/ 744587 w 5668219"/>
              <a:gd name="connsiteY2" fmla="*/ 5725 h 9156193"/>
              <a:gd name="connsiteX3" fmla="*/ 5668219 w 5668219"/>
              <a:gd name="connsiteY3" fmla="*/ 9156193 h 9156193"/>
              <a:gd name="connsiteX4" fmla="*/ 6951 w 5668219"/>
              <a:gd name="connsiteY4" fmla="*/ 9149662 h 9156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8219" h="9156193">
                <a:moveTo>
                  <a:pt x="6951" y="9149662"/>
                </a:moveTo>
                <a:cubicBezTo>
                  <a:pt x="3189" y="6098667"/>
                  <a:pt x="3762" y="3052005"/>
                  <a:pt x="0" y="1010"/>
                </a:cubicBezTo>
                <a:cubicBezTo>
                  <a:pt x="285009" y="-3758"/>
                  <a:pt x="489379" y="10134"/>
                  <a:pt x="744587" y="5725"/>
                </a:cubicBezTo>
                <a:cubicBezTo>
                  <a:pt x="2385798" y="3055881"/>
                  <a:pt x="4036157" y="6066848"/>
                  <a:pt x="5668219" y="9156193"/>
                </a:cubicBezTo>
                <a:lnTo>
                  <a:pt x="6951" y="9149662"/>
                </a:lnTo>
                <a:close/>
              </a:path>
            </a:pathLst>
          </a:custGeom>
          <a:solidFill>
            <a:schemeClr val="accent6">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3" name="Group 4">
            <a:extLst>
              <a:ext uri="{FF2B5EF4-FFF2-40B4-BE49-F238E27FC236}">
                <a16:creationId xmlns:a16="http://schemas.microsoft.com/office/drawing/2014/main" id="{4FC66B00-D555-4BE8-989A-DDB711D1E142}"/>
              </a:ext>
            </a:extLst>
          </p:cNvPr>
          <p:cNvGrpSpPr/>
          <p:nvPr userDrawn="1"/>
        </p:nvGrpSpPr>
        <p:grpSpPr>
          <a:xfrm>
            <a:off x="8766546" y="1684865"/>
            <a:ext cx="2664296" cy="4683693"/>
            <a:chOff x="445712" y="1449040"/>
            <a:chExt cx="2113018" cy="3924176"/>
          </a:xfrm>
        </p:grpSpPr>
        <p:sp>
          <p:nvSpPr>
            <p:cNvPr id="4" name="Rounded Rectangle 5">
              <a:extLst>
                <a:ext uri="{FF2B5EF4-FFF2-40B4-BE49-F238E27FC236}">
                  <a16:creationId xmlns:a16="http://schemas.microsoft.com/office/drawing/2014/main" id="{46C0072E-A5C6-43F5-9411-5CEC1102E894}"/>
                </a:ext>
              </a:extLst>
            </p:cNvPr>
            <p:cNvSpPr/>
            <p:nvPr userDrawn="1"/>
          </p:nvSpPr>
          <p:spPr>
            <a:xfrm>
              <a:off x="445712" y="1449040"/>
              <a:ext cx="2113018" cy="3924176"/>
            </a:xfrm>
            <a:prstGeom prst="roundRect">
              <a:avLst>
                <a:gd name="adj" fmla="val 13580"/>
              </a:avLst>
            </a:prstGeom>
            <a:solidFill>
              <a:srgbClr val="262626"/>
            </a:solidFill>
            <a:ln w="88900">
              <a:noFill/>
            </a:ln>
            <a:effectLst/>
            <a:scene3d>
              <a:camera prst="perspectiveFront"/>
              <a:lightRig rig="threePt" dir="t"/>
            </a:scene3d>
            <a:sp3d prstMaterial="plastic">
              <a:bevelT w="127000" h="50800"/>
              <a:bevelB w="127000" h="254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5" name="Rectangle 6">
              <a:extLst>
                <a:ext uri="{FF2B5EF4-FFF2-40B4-BE49-F238E27FC236}">
                  <a16:creationId xmlns:a16="http://schemas.microsoft.com/office/drawing/2014/main" id="{8DCE9241-6FC1-4D01-A26F-2577138ECCF6}"/>
                </a:ext>
              </a:extLst>
            </p:cNvPr>
            <p:cNvSpPr/>
            <p:nvPr userDrawn="1"/>
          </p:nvSpPr>
          <p:spPr>
            <a:xfrm>
              <a:off x="1379920" y="1650572"/>
              <a:ext cx="216024" cy="34350"/>
            </a:xfrm>
            <a:prstGeom prst="rect">
              <a:avLst/>
            </a:prstGeom>
            <a:solidFill>
              <a:srgbClr val="B0B0B0"/>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6" name="Group 7">
              <a:extLst>
                <a:ext uri="{FF2B5EF4-FFF2-40B4-BE49-F238E27FC236}">
                  <a16:creationId xmlns:a16="http://schemas.microsoft.com/office/drawing/2014/main" id="{ACB156C3-70AB-4C6A-A455-8F0F038CF0B6}"/>
                </a:ext>
              </a:extLst>
            </p:cNvPr>
            <p:cNvGrpSpPr/>
            <p:nvPr userDrawn="1"/>
          </p:nvGrpSpPr>
          <p:grpSpPr>
            <a:xfrm>
              <a:off x="1407705" y="5045834"/>
              <a:ext cx="211967" cy="211967"/>
              <a:chOff x="1549420" y="5712364"/>
              <a:chExt cx="312583" cy="312583"/>
            </a:xfrm>
          </p:grpSpPr>
          <p:sp>
            <p:nvSpPr>
              <p:cNvPr id="7" name="Oval 8">
                <a:extLst>
                  <a:ext uri="{FF2B5EF4-FFF2-40B4-BE49-F238E27FC236}">
                    <a16:creationId xmlns:a16="http://schemas.microsoft.com/office/drawing/2014/main" id="{C3F57BBD-616C-4C83-AE0D-1F53B0774B85}"/>
                  </a:ext>
                </a:extLst>
              </p:cNvPr>
              <p:cNvSpPr/>
              <p:nvPr userDrawn="1"/>
            </p:nvSpPr>
            <p:spPr>
              <a:xfrm>
                <a:off x="1549420" y="5712364"/>
                <a:ext cx="312583" cy="312583"/>
              </a:xfrm>
              <a:prstGeom prst="ellipse">
                <a:avLst/>
              </a:prstGeom>
              <a:gradFill flip="none" rotWithShape="1">
                <a:gsLst>
                  <a:gs pos="0">
                    <a:schemeClr val="tx1">
                      <a:lumMod val="94000"/>
                      <a:lumOff val="6000"/>
                    </a:schemeClr>
                  </a:gs>
                  <a:gs pos="56000">
                    <a:schemeClr val="tx1">
                      <a:lumMod val="65000"/>
                      <a:lumOff val="35000"/>
                    </a:schemeClr>
                  </a:gs>
                  <a:gs pos="91000">
                    <a:schemeClr val="tx1">
                      <a:lumMod val="50000"/>
                      <a:lumOff val="50000"/>
                    </a:schemeClr>
                  </a:gs>
                  <a:gs pos="100000">
                    <a:schemeClr val="bg1">
                      <a:lumMod val="75000"/>
                    </a:schemeClr>
                  </a:gs>
                </a:gsLst>
                <a:lin ang="10800000" scaled="1"/>
                <a:tileRect/>
              </a:gradFill>
              <a:ln w="0">
                <a:solidFill>
                  <a:srgbClr val="262626"/>
                </a:solidFill>
              </a:ln>
              <a:scene3d>
                <a:camera prst="perspectiveFront"/>
                <a:lightRig rig="threePt" dir="t"/>
              </a:scene3d>
              <a:sp3d>
                <a:bevelT w="63500" h="12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8" name="Rounded Rectangle 10">
                <a:extLst>
                  <a:ext uri="{FF2B5EF4-FFF2-40B4-BE49-F238E27FC236}">
                    <a16:creationId xmlns:a16="http://schemas.microsoft.com/office/drawing/2014/main" id="{CF6FA124-328F-434D-8E2C-4810EF79522E}"/>
                  </a:ext>
                </a:extLst>
              </p:cNvPr>
              <p:cNvSpPr/>
              <p:nvPr userDrawn="1"/>
            </p:nvSpPr>
            <p:spPr>
              <a:xfrm>
                <a:off x="1634225" y="5796647"/>
                <a:ext cx="142969" cy="144016"/>
              </a:xfrm>
              <a:prstGeom prst="roundRect">
                <a:avLst/>
              </a:prstGeom>
              <a:solidFill>
                <a:srgbClr val="737373"/>
              </a:solidFill>
              <a:ln w="6350">
                <a:solidFill>
                  <a:srgbClr val="B0B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grpSp>
      <p:sp>
        <p:nvSpPr>
          <p:cNvPr id="9" name="Picture Placeholder 2">
            <a:extLst>
              <a:ext uri="{FF2B5EF4-FFF2-40B4-BE49-F238E27FC236}">
                <a16:creationId xmlns:a16="http://schemas.microsoft.com/office/drawing/2014/main" id="{E0F5A946-B36C-437B-BBBE-040AD898AECF}"/>
              </a:ext>
            </a:extLst>
          </p:cNvPr>
          <p:cNvSpPr>
            <a:spLocks noGrp="1"/>
          </p:cNvSpPr>
          <p:nvPr>
            <p:ph type="pic" idx="11" hasCustomPrompt="1"/>
          </p:nvPr>
        </p:nvSpPr>
        <p:spPr>
          <a:xfrm>
            <a:off x="8954464" y="2096435"/>
            <a:ext cx="2288460" cy="3753075"/>
          </a:xfrm>
          <a:prstGeom prst="rect">
            <a:avLst/>
          </a:prstGeom>
          <a:solidFill>
            <a:schemeClr val="bg1">
              <a:lumMod val="95000"/>
            </a:schemeClr>
          </a:solidFill>
          <a:ln w="12700">
            <a:noFill/>
          </a:ln>
        </p:spPr>
        <p:txBody>
          <a:bodyPr anchor="ctr"/>
          <a:lstStyle>
            <a:lvl1pPr marL="0" indent="0" algn="ctr">
              <a:buNone/>
              <a:defRPr sz="1600">
                <a:latin typeface="Arial" pitchFamily="34" charset="0"/>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10" name="Text Placeholder 9">
            <a:extLst>
              <a:ext uri="{FF2B5EF4-FFF2-40B4-BE49-F238E27FC236}">
                <a16:creationId xmlns:a16="http://schemas.microsoft.com/office/drawing/2014/main" id="{1D3EC23D-890E-494C-A5F3-B58C0C58FBF8}"/>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0670202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091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8" name="Picture Placeholder 2"/>
          <p:cNvSpPr>
            <a:spLocks noGrp="1"/>
          </p:cNvSpPr>
          <p:nvPr>
            <p:ph type="pic" idx="12" hasCustomPrompt="1"/>
          </p:nvPr>
        </p:nvSpPr>
        <p:spPr>
          <a:xfrm>
            <a:off x="4348264" y="540000"/>
            <a:ext cx="3869178" cy="2600968"/>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7" name="Picture Placeholder 2"/>
          <p:cNvSpPr>
            <a:spLocks noGrp="1"/>
          </p:cNvSpPr>
          <p:nvPr>
            <p:ph type="pic" idx="13" hasCustomPrompt="1"/>
          </p:nvPr>
        </p:nvSpPr>
        <p:spPr>
          <a:xfrm>
            <a:off x="4348264" y="3696780"/>
            <a:ext cx="3869178" cy="2600968"/>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9" name="Picture Placeholder 2"/>
          <p:cNvSpPr>
            <a:spLocks noGrp="1"/>
          </p:cNvSpPr>
          <p:nvPr>
            <p:ph type="pic" idx="14" hasCustomPrompt="1"/>
          </p:nvPr>
        </p:nvSpPr>
        <p:spPr>
          <a:xfrm>
            <a:off x="8453336" y="1023552"/>
            <a:ext cx="2988000" cy="3888000"/>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10" name="Rectangle 9"/>
          <p:cNvSpPr/>
          <p:nvPr userDrawn="1"/>
        </p:nvSpPr>
        <p:spPr>
          <a:xfrm rot="16200000">
            <a:off x="10950144" y="378000"/>
            <a:ext cx="90000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479995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501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05ACDB4-7056-444B-AC2D-A3A1A52CDD8A}"/>
              </a:ext>
            </a:extLst>
          </p:cNvPr>
          <p:cNvGrpSpPr/>
          <p:nvPr userDrawn="1"/>
        </p:nvGrpSpPr>
        <p:grpSpPr>
          <a:xfrm>
            <a:off x="3034295" y="1729760"/>
            <a:ext cx="6123410" cy="3364399"/>
            <a:chOff x="-548507" y="477868"/>
            <a:chExt cx="11570449" cy="6357177"/>
          </a:xfrm>
        </p:grpSpPr>
        <p:sp>
          <p:nvSpPr>
            <p:cNvPr id="3" name="Freeform: Shape 2">
              <a:extLst>
                <a:ext uri="{FF2B5EF4-FFF2-40B4-BE49-F238E27FC236}">
                  <a16:creationId xmlns:a16="http://schemas.microsoft.com/office/drawing/2014/main" id="{D5D6E469-16A7-49B2-8529-DBB7F29E7879}"/>
                </a:ext>
              </a:extLst>
            </p:cNvPr>
            <p:cNvSpPr/>
            <p:nvPr/>
          </p:nvSpPr>
          <p:spPr>
            <a:xfrm>
              <a:off x="-482765" y="6440599"/>
              <a:ext cx="11438966" cy="394446"/>
            </a:xfrm>
            <a:custGeom>
              <a:avLst/>
              <a:gdLst>
                <a:gd name="connsiteX0" fmla="*/ 1605439 w 1657350"/>
                <a:gd name="connsiteY0" fmla="*/ 54769 h 57150"/>
                <a:gd name="connsiteX1" fmla="*/ 1652111 w 1657350"/>
                <a:gd name="connsiteY1" fmla="*/ 22384 h 57150"/>
                <a:gd name="connsiteX2" fmla="*/ 1652111 w 1657350"/>
                <a:gd name="connsiteY2" fmla="*/ 22384 h 57150"/>
                <a:gd name="connsiteX3" fmla="*/ 1636871 w 1657350"/>
                <a:gd name="connsiteY3" fmla="*/ 7144 h 57150"/>
                <a:gd name="connsiteX4" fmla="*/ 44291 w 1657350"/>
                <a:gd name="connsiteY4" fmla="*/ 12859 h 57150"/>
                <a:gd name="connsiteX5" fmla="*/ 23336 w 1657350"/>
                <a:gd name="connsiteY5" fmla="*/ 12859 h 57150"/>
                <a:gd name="connsiteX6" fmla="*/ 7144 w 1657350"/>
                <a:gd name="connsiteY6" fmla="*/ 26194 h 57150"/>
                <a:gd name="connsiteX7" fmla="*/ 7144 w 1657350"/>
                <a:gd name="connsiteY7" fmla="*/ 26194 h 57150"/>
                <a:gd name="connsiteX8" fmla="*/ 50959 w 1657350"/>
                <a:gd name="connsiteY8" fmla="*/ 53816 h 57150"/>
                <a:gd name="connsiteX9" fmla="*/ 51911 w 1657350"/>
                <a:gd name="connsiteY9" fmla="*/ 54769 h 57150"/>
                <a:gd name="connsiteX10" fmla="*/ 51911 w 1657350"/>
                <a:gd name="connsiteY10" fmla="*/ 54769 h 57150"/>
                <a:gd name="connsiteX11" fmla="*/ 56674 w 1657350"/>
                <a:gd name="connsiteY11" fmla="*/ 5476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57350" h="57150">
                  <a:moveTo>
                    <a:pt x="1605439" y="54769"/>
                  </a:moveTo>
                  <a:cubicBezTo>
                    <a:pt x="1605439" y="54769"/>
                    <a:pt x="1638776" y="50959"/>
                    <a:pt x="1652111" y="22384"/>
                  </a:cubicBezTo>
                  <a:lnTo>
                    <a:pt x="1652111" y="22384"/>
                  </a:lnTo>
                  <a:cubicBezTo>
                    <a:pt x="1652111" y="13811"/>
                    <a:pt x="1645444" y="7144"/>
                    <a:pt x="1636871" y="7144"/>
                  </a:cubicBezTo>
                  <a:lnTo>
                    <a:pt x="44291" y="12859"/>
                  </a:lnTo>
                  <a:lnTo>
                    <a:pt x="23336" y="12859"/>
                  </a:lnTo>
                  <a:cubicBezTo>
                    <a:pt x="14764" y="12859"/>
                    <a:pt x="7144" y="18574"/>
                    <a:pt x="7144" y="26194"/>
                  </a:cubicBezTo>
                  <a:lnTo>
                    <a:pt x="7144" y="26194"/>
                  </a:lnTo>
                  <a:cubicBezTo>
                    <a:pt x="17621" y="45244"/>
                    <a:pt x="40481" y="51911"/>
                    <a:pt x="50959" y="53816"/>
                  </a:cubicBezTo>
                  <a:lnTo>
                    <a:pt x="51911" y="54769"/>
                  </a:lnTo>
                  <a:cubicBezTo>
                    <a:pt x="51911" y="54769"/>
                    <a:pt x="51911" y="54769"/>
                    <a:pt x="51911" y="54769"/>
                  </a:cubicBezTo>
                  <a:lnTo>
                    <a:pt x="56674" y="54769"/>
                  </a:lnTo>
                </a:path>
              </a:pathLst>
            </a:custGeom>
            <a:solidFill>
              <a:srgbClr val="5F6767"/>
            </a:solidFill>
            <a:ln w="9525"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204A6CEB-961F-4136-AB8B-480075D2BFBF}"/>
                </a:ext>
              </a:extLst>
            </p:cNvPr>
            <p:cNvSpPr/>
            <p:nvPr/>
          </p:nvSpPr>
          <p:spPr>
            <a:xfrm>
              <a:off x="700575" y="477868"/>
              <a:ext cx="9072285" cy="5916709"/>
            </a:xfrm>
            <a:custGeom>
              <a:avLst/>
              <a:gdLst>
                <a:gd name="connsiteX0" fmla="*/ 1311116 w 1314450"/>
                <a:gd name="connsiteY0" fmla="*/ 813911 h 857250"/>
                <a:gd name="connsiteX1" fmla="*/ 1281589 w 1314450"/>
                <a:gd name="connsiteY1" fmla="*/ 852964 h 857250"/>
                <a:gd name="connsiteX2" fmla="*/ 36671 w 1314450"/>
                <a:gd name="connsiteY2" fmla="*/ 852964 h 857250"/>
                <a:gd name="connsiteX3" fmla="*/ 7144 w 1314450"/>
                <a:gd name="connsiteY3" fmla="*/ 813911 h 857250"/>
                <a:gd name="connsiteX4" fmla="*/ 7144 w 1314450"/>
                <a:gd name="connsiteY4" fmla="*/ 46196 h 857250"/>
                <a:gd name="connsiteX5" fmla="*/ 36671 w 1314450"/>
                <a:gd name="connsiteY5" fmla="*/ 7144 h 857250"/>
                <a:gd name="connsiteX6" fmla="*/ 1281589 w 1314450"/>
                <a:gd name="connsiteY6" fmla="*/ 7144 h 857250"/>
                <a:gd name="connsiteX7" fmla="*/ 1311116 w 1314450"/>
                <a:gd name="connsiteY7" fmla="*/ 46196 h 857250"/>
                <a:gd name="connsiteX8" fmla="*/ 1311116 w 1314450"/>
                <a:gd name="connsiteY8" fmla="*/ 8139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4450" h="857250">
                  <a:moveTo>
                    <a:pt x="1311116" y="813911"/>
                  </a:moveTo>
                  <a:cubicBezTo>
                    <a:pt x="1311116" y="834866"/>
                    <a:pt x="1297781" y="852964"/>
                    <a:pt x="1281589" y="852964"/>
                  </a:cubicBezTo>
                  <a:lnTo>
                    <a:pt x="36671" y="852964"/>
                  </a:lnTo>
                  <a:cubicBezTo>
                    <a:pt x="20479" y="852964"/>
                    <a:pt x="7144" y="835819"/>
                    <a:pt x="7144" y="813911"/>
                  </a:cubicBezTo>
                  <a:lnTo>
                    <a:pt x="7144" y="46196"/>
                  </a:lnTo>
                  <a:cubicBezTo>
                    <a:pt x="7144" y="25241"/>
                    <a:pt x="20479" y="7144"/>
                    <a:pt x="36671" y="7144"/>
                  </a:cubicBezTo>
                  <a:lnTo>
                    <a:pt x="1281589" y="7144"/>
                  </a:lnTo>
                  <a:cubicBezTo>
                    <a:pt x="1297781" y="7144"/>
                    <a:pt x="1311116" y="24289"/>
                    <a:pt x="1311116" y="46196"/>
                  </a:cubicBezTo>
                  <a:lnTo>
                    <a:pt x="1311116" y="813911"/>
                  </a:lnTo>
                  <a:close/>
                </a:path>
              </a:pathLst>
            </a:custGeom>
            <a:solidFill>
              <a:srgbClr val="000000"/>
            </a:solid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A17BE345-3853-4A63-B041-E1412C560330}"/>
                </a:ext>
              </a:extLst>
            </p:cNvPr>
            <p:cNvSpPr/>
            <p:nvPr/>
          </p:nvSpPr>
          <p:spPr>
            <a:xfrm>
              <a:off x="1088451" y="839448"/>
              <a:ext cx="8283390" cy="5062073"/>
            </a:xfrm>
            <a:custGeom>
              <a:avLst/>
              <a:gdLst>
                <a:gd name="connsiteX0" fmla="*/ 7144 w 1200150"/>
                <a:gd name="connsiteY0" fmla="*/ 7144 h 733425"/>
                <a:gd name="connsiteX1" fmla="*/ 1196816 w 1200150"/>
                <a:gd name="connsiteY1" fmla="*/ 7144 h 733425"/>
                <a:gd name="connsiteX2" fmla="*/ 1196816 w 1200150"/>
                <a:gd name="connsiteY2" fmla="*/ 730091 h 733425"/>
                <a:gd name="connsiteX3" fmla="*/ 7144 w 1200150"/>
                <a:gd name="connsiteY3" fmla="*/ 730091 h 733425"/>
              </a:gdLst>
              <a:ahLst/>
              <a:cxnLst>
                <a:cxn ang="0">
                  <a:pos x="connsiteX0" y="connsiteY0"/>
                </a:cxn>
                <a:cxn ang="0">
                  <a:pos x="connsiteX1" y="connsiteY1"/>
                </a:cxn>
                <a:cxn ang="0">
                  <a:pos x="connsiteX2" y="connsiteY2"/>
                </a:cxn>
                <a:cxn ang="0">
                  <a:pos x="connsiteX3" y="connsiteY3"/>
                </a:cxn>
              </a:cxnLst>
              <a:rect l="l" t="t" r="r" b="b"/>
              <a:pathLst>
                <a:path w="1200150" h="733425">
                  <a:moveTo>
                    <a:pt x="7144" y="7144"/>
                  </a:moveTo>
                  <a:lnTo>
                    <a:pt x="1196816" y="7144"/>
                  </a:lnTo>
                  <a:lnTo>
                    <a:pt x="1196816" y="730091"/>
                  </a:lnTo>
                  <a:lnTo>
                    <a:pt x="7144" y="730091"/>
                  </a:lnTo>
                  <a:close/>
                </a:path>
              </a:pathLst>
            </a:custGeom>
            <a:solidFill>
              <a:srgbClr val="F2F2F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C68B87ED-8E62-455F-9015-085111CF108B}"/>
                </a:ext>
              </a:extLst>
            </p:cNvPr>
            <p:cNvSpPr/>
            <p:nvPr/>
          </p:nvSpPr>
          <p:spPr>
            <a:xfrm>
              <a:off x="-548507" y="6164484"/>
              <a:ext cx="11570449" cy="460187"/>
            </a:xfrm>
            <a:custGeom>
              <a:avLst/>
              <a:gdLst>
                <a:gd name="connsiteX0" fmla="*/ 50006 w 1676400"/>
                <a:gd name="connsiteY0" fmla="*/ 7144 h 66675"/>
                <a:gd name="connsiteX1" fmla="*/ 1630204 w 1676400"/>
                <a:gd name="connsiteY1" fmla="*/ 7144 h 66675"/>
                <a:gd name="connsiteX2" fmla="*/ 1672114 w 1676400"/>
                <a:gd name="connsiteY2" fmla="*/ 49054 h 66675"/>
                <a:gd name="connsiteX3" fmla="*/ 1672114 w 1676400"/>
                <a:gd name="connsiteY3" fmla="*/ 57626 h 66675"/>
                <a:gd name="connsiteX4" fmla="*/ 1656874 w 1676400"/>
                <a:gd name="connsiteY4" fmla="*/ 62389 h 66675"/>
                <a:gd name="connsiteX5" fmla="*/ 1654016 w 1676400"/>
                <a:gd name="connsiteY5" fmla="*/ 62389 h 66675"/>
                <a:gd name="connsiteX6" fmla="*/ 29051 w 1676400"/>
                <a:gd name="connsiteY6" fmla="*/ 62389 h 66675"/>
                <a:gd name="connsiteX7" fmla="*/ 21431 w 1676400"/>
                <a:gd name="connsiteY7" fmla="*/ 63341 h 66675"/>
                <a:gd name="connsiteX8" fmla="*/ 7144 w 1676400"/>
                <a:gd name="connsiteY8" fmla="*/ 55721 h 66675"/>
                <a:gd name="connsiteX9" fmla="*/ 7144 w 1676400"/>
                <a:gd name="connsiteY9" fmla="*/ 48101 h 66675"/>
                <a:gd name="connsiteX10" fmla="*/ 50006 w 1676400"/>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6400" h="66675">
                  <a:moveTo>
                    <a:pt x="50006" y="7144"/>
                  </a:moveTo>
                  <a:lnTo>
                    <a:pt x="1630204" y="7144"/>
                  </a:lnTo>
                  <a:cubicBezTo>
                    <a:pt x="1653064" y="7144"/>
                    <a:pt x="1672114" y="26194"/>
                    <a:pt x="1672114" y="49054"/>
                  </a:cubicBezTo>
                  <a:lnTo>
                    <a:pt x="1672114" y="57626"/>
                  </a:lnTo>
                  <a:cubicBezTo>
                    <a:pt x="1672114" y="57626"/>
                    <a:pt x="1674019" y="64294"/>
                    <a:pt x="1656874" y="62389"/>
                  </a:cubicBezTo>
                  <a:cubicBezTo>
                    <a:pt x="1655921" y="62389"/>
                    <a:pt x="1654969" y="62389"/>
                    <a:pt x="1654016" y="62389"/>
                  </a:cubicBezTo>
                  <a:lnTo>
                    <a:pt x="29051" y="62389"/>
                  </a:lnTo>
                  <a:cubicBezTo>
                    <a:pt x="26194" y="62389"/>
                    <a:pt x="24289" y="62389"/>
                    <a:pt x="21431" y="63341"/>
                  </a:cubicBezTo>
                  <a:cubicBezTo>
                    <a:pt x="16669" y="64294"/>
                    <a:pt x="8096" y="64294"/>
                    <a:pt x="7144" y="55721"/>
                  </a:cubicBezTo>
                  <a:lnTo>
                    <a:pt x="7144" y="48101"/>
                  </a:lnTo>
                  <a:cubicBezTo>
                    <a:pt x="8096" y="25241"/>
                    <a:pt x="26194" y="7144"/>
                    <a:pt x="50006" y="7144"/>
                  </a:cubicBezTo>
                  <a:close/>
                </a:path>
              </a:pathLst>
            </a:custGeom>
            <a:solidFill>
              <a:srgbClr val="CCCCCC"/>
            </a:solidFill>
            <a:ln w="9525"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4C56692B-E9D3-40B7-889D-07DDC03D36AD}"/>
                </a:ext>
              </a:extLst>
            </p:cNvPr>
            <p:cNvSpPr/>
            <p:nvPr/>
          </p:nvSpPr>
          <p:spPr>
            <a:xfrm>
              <a:off x="4438629" y="6215033"/>
              <a:ext cx="1618413" cy="184076"/>
            </a:xfrm>
            <a:custGeom>
              <a:avLst/>
              <a:gdLst>
                <a:gd name="connsiteX0" fmla="*/ 1478513 w 1618413"/>
                <a:gd name="connsiteY0" fmla="*/ 177499 h 184076"/>
                <a:gd name="connsiteX1" fmla="*/ 1485084 w 1618413"/>
                <a:gd name="connsiteY1" fmla="*/ 177499 h 184076"/>
                <a:gd name="connsiteX2" fmla="*/ 1502686 w 1618413"/>
                <a:gd name="connsiteY2" fmla="*/ 178122 h 184076"/>
                <a:gd name="connsiteX3" fmla="*/ 1499879 w 1618413"/>
                <a:gd name="connsiteY3" fmla="*/ 178526 h 184076"/>
                <a:gd name="connsiteX4" fmla="*/ 1478513 w 1618413"/>
                <a:gd name="connsiteY4" fmla="*/ 177499 h 184076"/>
                <a:gd name="connsiteX5" fmla="*/ 84799 w 1618413"/>
                <a:gd name="connsiteY5" fmla="*/ 170928 h 184076"/>
                <a:gd name="connsiteX6" fmla="*/ 117666 w 1618413"/>
                <a:gd name="connsiteY6" fmla="*/ 177499 h 184076"/>
                <a:gd name="connsiteX7" fmla="*/ 104518 w 1618413"/>
                <a:gd name="connsiteY7" fmla="*/ 177499 h 184076"/>
                <a:gd name="connsiteX8" fmla="*/ 84799 w 1618413"/>
                <a:gd name="connsiteY8" fmla="*/ 170928 h 184076"/>
                <a:gd name="connsiteX9" fmla="*/ 1603418 w 1618413"/>
                <a:gd name="connsiteY9" fmla="*/ 0 h 184076"/>
                <a:gd name="connsiteX10" fmla="*/ 1616567 w 1618413"/>
                <a:gd name="connsiteY10" fmla="*/ 0 h 184076"/>
                <a:gd name="connsiteX11" fmla="*/ 1511177 w 1618413"/>
                <a:gd name="connsiteY11" fmla="*/ 178423 h 184076"/>
                <a:gd name="connsiteX12" fmla="*/ 1502686 w 1618413"/>
                <a:gd name="connsiteY12" fmla="*/ 178122 h 184076"/>
                <a:gd name="connsiteX13" fmla="*/ 1521501 w 1618413"/>
                <a:gd name="connsiteY13" fmla="*/ 175419 h 184076"/>
                <a:gd name="connsiteX14" fmla="*/ 1603418 w 1618413"/>
                <a:gd name="connsiteY14" fmla="*/ 6571 h 184076"/>
                <a:gd name="connsiteX15" fmla="*/ 5911 w 1618413"/>
                <a:gd name="connsiteY15" fmla="*/ 0 h 184076"/>
                <a:gd name="connsiteX16" fmla="*/ 19060 w 1618413"/>
                <a:gd name="connsiteY16" fmla="*/ 6571 h 184076"/>
                <a:gd name="connsiteX17" fmla="*/ 91379 w 1618413"/>
                <a:gd name="connsiteY17" fmla="*/ 184076 h 184076"/>
                <a:gd name="connsiteX18" fmla="*/ 5911 w 1618413"/>
                <a:gd name="connsiteY18" fmla="*/ 0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8413" h="184076">
                  <a:moveTo>
                    <a:pt x="1478513" y="177499"/>
                  </a:moveTo>
                  <a:lnTo>
                    <a:pt x="1485084" y="177499"/>
                  </a:lnTo>
                  <a:lnTo>
                    <a:pt x="1502686" y="178122"/>
                  </a:lnTo>
                  <a:lnTo>
                    <a:pt x="1499879" y="178526"/>
                  </a:lnTo>
                  <a:cubicBezTo>
                    <a:pt x="1487142" y="179142"/>
                    <a:pt x="1478513" y="177499"/>
                    <a:pt x="1478513" y="177499"/>
                  </a:cubicBezTo>
                  <a:close/>
                  <a:moveTo>
                    <a:pt x="84799" y="170928"/>
                  </a:moveTo>
                  <a:cubicBezTo>
                    <a:pt x="97947" y="177499"/>
                    <a:pt x="104518" y="177499"/>
                    <a:pt x="117666" y="177499"/>
                  </a:cubicBezTo>
                  <a:lnTo>
                    <a:pt x="104518" y="177499"/>
                  </a:lnTo>
                  <a:cubicBezTo>
                    <a:pt x="97947" y="177499"/>
                    <a:pt x="91370" y="177499"/>
                    <a:pt x="84799" y="170928"/>
                  </a:cubicBezTo>
                  <a:close/>
                  <a:moveTo>
                    <a:pt x="1603418" y="0"/>
                  </a:moveTo>
                  <a:lnTo>
                    <a:pt x="1616567" y="0"/>
                  </a:lnTo>
                  <a:cubicBezTo>
                    <a:pt x="1631361" y="152847"/>
                    <a:pt x="1553705" y="176266"/>
                    <a:pt x="1511177" y="178423"/>
                  </a:cubicBezTo>
                  <a:lnTo>
                    <a:pt x="1502686" y="178122"/>
                  </a:lnTo>
                  <a:lnTo>
                    <a:pt x="1521501" y="175419"/>
                  </a:lnTo>
                  <a:cubicBezTo>
                    <a:pt x="1560791" y="165788"/>
                    <a:pt x="1611636" y="129836"/>
                    <a:pt x="1603418" y="6571"/>
                  </a:cubicBezTo>
                  <a:close/>
                  <a:moveTo>
                    <a:pt x="5911" y="0"/>
                  </a:moveTo>
                  <a:lnTo>
                    <a:pt x="19060" y="6571"/>
                  </a:lnTo>
                  <a:cubicBezTo>
                    <a:pt x="19060" y="6571"/>
                    <a:pt x="-20385" y="144631"/>
                    <a:pt x="91379" y="184076"/>
                  </a:cubicBezTo>
                  <a:cubicBezTo>
                    <a:pt x="-33534" y="151202"/>
                    <a:pt x="5911" y="0"/>
                    <a:pt x="5911" y="0"/>
                  </a:cubicBezTo>
                  <a:close/>
                </a:path>
              </a:pathLst>
            </a:custGeom>
            <a:solidFill>
              <a:srgbClr val="4D4D4D"/>
            </a:solidFill>
            <a:ln w="9525"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0810D406-491D-4C34-B91B-4A2C0088A390}"/>
                </a:ext>
              </a:extLst>
            </p:cNvPr>
            <p:cNvGrpSpPr/>
            <p:nvPr/>
          </p:nvGrpSpPr>
          <p:grpSpPr>
            <a:xfrm>
              <a:off x="1606" y="6382978"/>
              <a:ext cx="413937" cy="115242"/>
              <a:chOff x="5955" y="6353672"/>
              <a:chExt cx="413937" cy="115242"/>
            </a:xfrm>
          </p:grpSpPr>
          <p:sp>
            <p:nvSpPr>
              <p:cNvPr id="13" name="Rectangle: Rounded Corners 12">
                <a:extLst>
                  <a:ext uri="{FF2B5EF4-FFF2-40B4-BE49-F238E27FC236}">
                    <a16:creationId xmlns:a16="http://schemas.microsoft.com/office/drawing/2014/main" id="{358A6950-FB16-4094-8B0F-911CDC6DEE64}"/>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9AB18B54-C2FE-4DA5-BD03-3DD25C832595}"/>
                  </a:ext>
                </a:extLst>
              </p:cNvPr>
              <p:cNvSpPr/>
              <p:nvPr/>
            </p:nvSpPr>
            <p:spPr>
              <a:xfrm>
                <a:off x="99417" y="6382279"/>
                <a:ext cx="227012"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8C339605-C333-40A7-992A-8B6F1DB5F564}"/>
                </a:ext>
              </a:extLst>
            </p:cNvPr>
            <p:cNvGrpSpPr/>
            <p:nvPr/>
          </p:nvGrpSpPr>
          <p:grpSpPr>
            <a:xfrm>
              <a:off x="9855291" y="6381600"/>
              <a:ext cx="885989" cy="115242"/>
              <a:chOff x="5955" y="6353672"/>
              <a:chExt cx="413937" cy="115242"/>
            </a:xfrm>
          </p:grpSpPr>
          <p:sp>
            <p:nvSpPr>
              <p:cNvPr id="11" name="Rectangle: Rounded Corners 10">
                <a:extLst>
                  <a:ext uri="{FF2B5EF4-FFF2-40B4-BE49-F238E27FC236}">
                    <a16:creationId xmlns:a16="http://schemas.microsoft.com/office/drawing/2014/main" id="{B0982386-BB61-4DDE-B27D-6C0B9A5796B0}"/>
                  </a:ext>
                </a:extLst>
              </p:cNvPr>
              <p:cNvSpPr/>
              <p:nvPr/>
            </p:nvSpPr>
            <p:spPr>
              <a:xfrm>
                <a:off x="5955" y="6353672"/>
                <a:ext cx="413937" cy="115242"/>
              </a:xfrm>
              <a:prstGeom prst="roundRect">
                <a:avLst>
                  <a:gd name="adj" fmla="val 2815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0C62F2C4-B7FD-4491-B963-89CE3E76A9D4}"/>
                  </a:ext>
                </a:extLst>
              </p:cNvPr>
              <p:cNvSpPr/>
              <p:nvPr/>
            </p:nvSpPr>
            <p:spPr>
              <a:xfrm>
                <a:off x="84761" y="6382279"/>
                <a:ext cx="256326" cy="55272"/>
              </a:xfrm>
              <a:prstGeom prst="roundRect">
                <a:avLst>
                  <a:gd name="adj" fmla="val 28154"/>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 name="Freeform: Shape 9">
              <a:extLst>
                <a:ext uri="{FF2B5EF4-FFF2-40B4-BE49-F238E27FC236}">
                  <a16:creationId xmlns:a16="http://schemas.microsoft.com/office/drawing/2014/main" id="{CAF97335-8107-4819-9FF3-88583156A66B}"/>
                </a:ext>
              </a:extLst>
            </p:cNvPr>
            <p:cNvSpPr/>
            <p:nvPr/>
          </p:nvSpPr>
          <p:spPr>
            <a:xfrm>
              <a:off x="3892805" y="496953"/>
              <a:ext cx="5479036" cy="5431217"/>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sp>
        <p:nvSpPr>
          <p:cNvPr id="15" name="Picture Placeholder 2">
            <a:extLst>
              <a:ext uri="{FF2B5EF4-FFF2-40B4-BE49-F238E27FC236}">
                <a16:creationId xmlns:a16="http://schemas.microsoft.com/office/drawing/2014/main" id="{727D0BE6-FBB9-4B77-8EDB-A13C083B7D8C}"/>
              </a:ext>
            </a:extLst>
          </p:cNvPr>
          <p:cNvSpPr>
            <a:spLocks noGrp="1"/>
          </p:cNvSpPr>
          <p:nvPr>
            <p:ph type="pic" idx="12" hasCustomPrompt="1"/>
          </p:nvPr>
        </p:nvSpPr>
        <p:spPr>
          <a:xfrm>
            <a:off x="3842916" y="1917910"/>
            <a:ext cx="4506168" cy="2726800"/>
          </a:xfrm>
          <a:prstGeom prst="rect">
            <a:avLst/>
          </a:prstGeom>
          <a:solidFill>
            <a:schemeClr val="bg1">
              <a:lumMod val="95000"/>
            </a:schemeClr>
          </a:solidFill>
          <a:ln w="12700">
            <a:noFill/>
          </a:ln>
        </p:spPr>
        <p:txBody>
          <a:bodyPr anchor="ctr"/>
          <a:lstStyle>
            <a:lvl1pPr marL="0" indent="0" algn="ctr">
              <a:buNone/>
              <a:defRPr sz="1600">
                <a:latin typeface="Arial" pitchFamily="34" charset="0"/>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t>
            </a:r>
            <a:endParaRPr lang="ko-KR" altLang="en-US" dirty="0"/>
          </a:p>
        </p:txBody>
      </p:sp>
      <p:sp>
        <p:nvSpPr>
          <p:cNvPr id="16" name="Text Placeholder 9">
            <a:extLst>
              <a:ext uri="{FF2B5EF4-FFF2-40B4-BE49-F238E27FC236}">
                <a16:creationId xmlns:a16="http://schemas.microsoft.com/office/drawing/2014/main" id="{E96D8A7C-C374-4598-8F03-E1F3B67331E8}"/>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0709524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3003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Images &amp; Contents Layout">
    <p:bg>
      <p:bgPr>
        <a:solidFill>
          <a:schemeClr val="bg1"/>
        </a:solidFill>
        <a:effectLst/>
      </p:bgPr>
    </p:bg>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7A513B6A-23AF-468B-AFC6-8FA1E534408D}"/>
              </a:ext>
            </a:extLst>
          </p:cNvPr>
          <p:cNvSpPr/>
          <p:nvPr userDrawn="1"/>
        </p:nvSpPr>
        <p:spPr>
          <a:xfrm>
            <a:off x="706132" y="593002"/>
            <a:ext cx="10779737" cy="5671996"/>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latin typeface="+mn-lt"/>
            </a:endParaRPr>
          </a:p>
        </p:txBody>
      </p:sp>
      <p:sp>
        <p:nvSpPr>
          <p:cNvPr id="3" name="Picture Placeholder 2"/>
          <p:cNvSpPr>
            <a:spLocks noGrp="1"/>
          </p:cNvSpPr>
          <p:nvPr>
            <p:ph type="pic" idx="1" hasCustomPrompt="1"/>
          </p:nvPr>
        </p:nvSpPr>
        <p:spPr>
          <a:xfrm>
            <a:off x="6800167" y="0"/>
            <a:ext cx="4151461" cy="6858000"/>
          </a:xfrm>
          <a:prstGeom prst="rect">
            <a:avLst/>
          </a:prstGeom>
          <a:solidFill>
            <a:schemeClr val="bg1">
              <a:lumMod val="95000"/>
            </a:schemeClr>
          </a:solidFill>
        </p:spPr>
        <p:txBody>
          <a:bodyPr anchor="ctr"/>
          <a:lstStyle>
            <a:lvl1pPr marL="0" indent="0" algn="ctr">
              <a:buNone/>
              <a:defRPr sz="1200" baseline="0">
                <a:solidFill>
                  <a:schemeClr val="tx1">
                    <a:lumMod val="85000"/>
                    <a:lumOff val="1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613608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635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638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C81-A928-4CDB-B91D-B5951D22E3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9F8F28-3B3E-4ED2-A761-6F1F658109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F54F6C-E376-4D20-BE2F-6B46D7D6C8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3BCBBB4-F68E-48AD-8174-B8F145AC5053}"/>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6" name="Footer Placeholder 5">
            <a:extLst>
              <a:ext uri="{FF2B5EF4-FFF2-40B4-BE49-F238E27FC236}">
                <a16:creationId xmlns:a16="http://schemas.microsoft.com/office/drawing/2014/main" id="{D65EF969-329A-4710-8348-D94878D817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729846-B37D-4621-B4D1-8BC53F7367EF}"/>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34943175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248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4187628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4"/>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4076640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908895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ontents slide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48356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Agenda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9542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aam slide layout">
    <p:spTree>
      <p:nvGrpSpPr>
        <p:cNvPr id="1" name=""/>
        <p:cNvGrpSpPr/>
        <p:nvPr/>
      </p:nvGrpSpPr>
      <p:grpSpPr>
        <a:xfrm>
          <a:off x="0" y="0"/>
          <a:ext cx="0" cy="0"/>
          <a:chOff x="0" y="0"/>
          <a:chExt cx="0" cy="0"/>
        </a:xfrm>
      </p:grpSpPr>
      <p:sp>
        <p:nvSpPr>
          <p:cNvPr id="3" name="Text Placeholder 9">
            <a:extLst>
              <a:ext uri="{FF2B5EF4-FFF2-40B4-BE49-F238E27FC236}">
                <a16:creationId xmlns:a16="http://schemas.microsoft.com/office/drawing/2014/main" id="{EF70765A-4598-4D75-8EBE-B820808F6559}"/>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Our Team LAYOUT</a:t>
            </a:r>
          </a:p>
        </p:txBody>
      </p:sp>
      <p:sp>
        <p:nvSpPr>
          <p:cNvPr id="4" name="Picture Placeholder 2">
            <a:extLst>
              <a:ext uri="{FF2B5EF4-FFF2-40B4-BE49-F238E27FC236}">
                <a16:creationId xmlns:a16="http://schemas.microsoft.com/office/drawing/2014/main" id="{09E604E3-44BB-4135-857B-040684E1FBFD}"/>
              </a:ext>
            </a:extLst>
          </p:cNvPr>
          <p:cNvSpPr>
            <a:spLocks noGrp="1"/>
          </p:cNvSpPr>
          <p:nvPr>
            <p:ph type="pic" idx="15" hasCustomPrompt="1"/>
          </p:nvPr>
        </p:nvSpPr>
        <p:spPr>
          <a:xfrm>
            <a:off x="3799963" y="1743532"/>
            <a:ext cx="2124000" cy="2095028"/>
          </a:xfrm>
          <a:prstGeom prst="rect">
            <a:avLst/>
          </a:prstGeom>
          <a:solidFill>
            <a:schemeClr val="bg1">
              <a:lumMod val="95000"/>
            </a:schemeClr>
          </a:solidFill>
          <a:ln w="127000">
            <a:noFill/>
          </a:ln>
        </p:spPr>
        <p:txBody>
          <a:bodyPr anchor="ctr"/>
          <a:lstStyle>
            <a:lvl1pPr marL="0" indent="0" algn="ctr">
              <a:buNone/>
              <a:defRPr sz="120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a:t>
            </a:r>
            <a:endParaRPr lang="ko-KR" altLang="en-US" dirty="0"/>
          </a:p>
        </p:txBody>
      </p:sp>
      <p:sp>
        <p:nvSpPr>
          <p:cNvPr id="5" name="Picture Placeholder 2">
            <a:extLst>
              <a:ext uri="{FF2B5EF4-FFF2-40B4-BE49-F238E27FC236}">
                <a16:creationId xmlns:a16="http://schemas.microsoft.com/office/drawing/2014/main" id="{0C4DDDBF-8A43-4C70-AED9-17AB2A1038A9}"/>
              </a:ext>
            </a:extLst>
          </p:cNvPr>
          <p:cNvSpPr>
            <a:spLocks noGrp="1"/>
          </p:cNvSpPr>
          <p:nvPr>
            <p:ph type="pic" idx="16" hasCustomPrompt="1"/>
          </p:nvPr>
        </p:nvSpPr>
        <p:spPr>
          <a:xfrm>
            <a:off x="6259900" y="1743532"/>
            <a:ext cx="2124000" cy="2095028"/>
          </a:xfrm>
          <a:prstGeom prst="rect">
            <a:avLst/>
          </a:prstGeom>
          <a:solidFill>
            <a:schemeClr val="bg1">
              <a:lumMod val="95000"/>
            </a:schemeClr>
          </a:solidFill>
          <a:ln w="127000">
            <a:noFill/>
          </a:ln>
        </p:spPr>
        <p:txBody>
          <a:bodyPr anchor="ctr"/>
          <a:lstStyle>
            <a:lvl1pPr marL="0" indent="0" algn="ctr">
              <a:buNone/>
              <a:defRPr sz="120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a:t>
            </a:r>
            <a:endParaRPr lang="ko-KR" altLang="en-US" dirty="0"/>
          </a:p>
        </p:txBody>
      </p:sp>
      <p:sp>
        <p:nvSpPr>
          <p:cNvPr id="6" name="Picture Placeholder 2">
            <a:extLst>
              <a:ext uri="{FF2B5EF4-FFF2-40B4-BE49-F238E27FC236}">
                <a16:creationId xmlns:a16="http://schemas.microsoft.com/office/drawing/2014/main" id="{376A8808-F867-4B63-A7F8-F42CDB5BCF30}"/>
              </a:ext>
            </a:extLst>
          </p:cNvPr>
          <p:cNvSpPr>
            <a:spLocks noGrp="1"/>
          </p:cNvSpPr>
          <p:nvPr>
            <p:ph type="pic" idx="17" hasCustomPrompt="1"/>
          </p:nvPr>
        </p:nvSpPr>
        <p:spPr>
          <a:xfrm>
            <a:off x="3799963" y="4150301"/>
            <a:ext cx="2124000" cy="2095028"/>
          </a:xfrm>
          <a:prstGeom prst="rect">
            <a:avLst/>
          </a:prstGeom>
          <a:solidFill>
            <a:schemeClr val="bg1">
              <a:lumMod val="95000"/>
            </a:schemeClr>
          </a:solidFill>
          <a:ln w="127000">
            <a:noFill/>
          </a:ln>
        </p:spPr>
        <p:txBody>
          <a:bodyPr anchor="ctr"/>
          <a:lstStyle>
            <a:lvl1pPr marL="0" indent="0" algn="ctr">
              <a:buNone/>
              <a:defRPr sz="120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a:t>
            </a:r>
            <a:endParaRPr lang="ko-KR" altLang="en-US" dirty="0"/>
          </a:p>
        </p:txBody>
      </p:sp>
      <p:sp>
        <p:nvSpPr>
          <p:cNvPr id="7" name="Picture Placeholder 2">
            <a:extLst>
              <a:ext uri="{FF2B5EF4-FFF2-40B4-BE49-F238E27FC236}">
                <a16:creationId xmlns:a16="http://schemas.microsoft.com/office/drawing/2014/main" id="{E37C006D-4532-4EB2-A208-FB9488448195}"/>
              </a:ext>
            </a:extLst>
          </p:cNvPr>
          <p:cNvSpPr>
            <a:spLocks noGrp="1"/>
          </p:cNvSpPr>
          <p:nvPr>
            <p:ph type="pic" idx="18" hasCustomPrompt="1"/>
          </p:nvPr>
        </p:nvSpPr>
        <p:spPr>
          <a:xfrm>
            <a:off x="6259900" y="4150301"/>
            <a:ext cx="2124000" cy="2095028"/>
          </a:xfrm>
          <a:prstGeom prst="rect">
            <a:avLst/>
          </a:prstGeom>
          <a:solidFill>
            <a:schemeClr val="bg1">
              <a:lumMod val="95000"/>
            </a:schemeClr>
          </a:solidFill>
          <a:ln w="127000">
            <a:noFill/>
          </a:ln>
        </p:spPr>
        <p:txBody>
          <a:bodyPr anchor="ctr"/>
          <a:lstStyle>
            <a:lvl1pPr marL="0" indent="0" algn="ctr">
              <a:buNone/>
              <a:defRPr sz="120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 And Send To Back</a:t>
            </a:r>
            <a:endParaRPr lang="ko-KR" altLang="en-US" dirty="0"/>
          </a:p>
        </p:txBody>
      </p:sp>
    </p:spTree>
    <p:extLst>
      <p:ext uri="{BB962C8B-B14F-4D97-AF65-F5344CB8AC3E}">
        <p14:creationId xmlns:p14="http://schemas.microsoft.com/office/powerpoint/2010/main" val="33321225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8_Contents slide layout">
    <p:spTree>
      <p:nvGrpSpPr>
        <p:cNvPr id="1" name=""/>
        <p:cNvGrpSpPr/>
        <p:nvPr/>
      </p:nvGrpSpPr>
      <p:grpSpPr>
        <a:xfrm>
          <a:off x="0" y="0"/>
          <a:ext cx="0" cy="0"/>
          <a:chOff x="0" y="0"/>
          <a:chExt cx="0" cy="0"/>
        </a:xfrm>
      </p:grpSpPr>
      <p:sp>
        <p:nvSpPr>
          <p:cNvPr id="2" name="Picture Placeholder 248">
            <a:extLst>
              <a:ext uri="{FF2B5EF4-FFF2-40B4-BE49-F238E27FC236}">
                <a16:creationId xmlns:a16="http://schemas.microsoft.com/office/drawing/2014/main" id="{58E349F4-7582-48A8-86E1-CA75B470B384}"/>
              </a:ext>
            </a:extLst>
          </p:cNvPr>
          <p:cNvSpPr>
            <a:spLocks noGrp="1"/>
          </p:cNvSpPr>
          <p:nvPr>
            <p:ph type="pic" idx="11" hasCustomPrompt="1"/>
          </p:nvPr>
        </p:nvSpPr>
        <p:spPr>
          <a:xfrm>
            <a:off x="0" y="0"/>
            <a:ext cx="12191999" cy="6858000"/>
          </a:xfrm>
          <a:custGeom>
            <a:avLst/>
            <a:gdLst>
              <a:gd name="connsiteX0" fmla="*/ 10699779 w 12191999"/>
              <a:gd name="connsiteY0" fmla="*/ 6099402 h 6858000"/>
              <a:gd name="connsiteX1" fmla="*/ 10700365 w 12191999"/>
              <a:gd name="connsiteY1" fmla="*/ 6104567 h 6858000"/>
              <a:gd name="connsiteX2" fmla="*/ 10702406 w 12191999"/>
              <a:gd name="connsiteY2" fmla="*/ 6099903 h 6858000"/>
              <a:gd name="connsiteX3" fmla="*/ 9177921 w 12191999"/>
              <a:gd name="connsiteY3" fmla="*/ 6098901 h 6858000"/>
              <a:gd name="connsiteX4" fmla="*/ 9178505 w 12191999"/>
              <a:gd name="connsiteY4" fmla="*/ 6100344 h 6858000"/>
              <a:gd name="connsiteX5" fmla="*/ 9178605 w 12191999"/>
              <a:gd name="connsiteY5" fmla="*/ 6102927 h 6858000"/>
              <a:gd name="connsiteX6" fmla="*/ 9183635 w 12191999"/>
              <a:gd name="connsiteY6" fmla="*/ 6102927 h 6858000"/>
              <a:gd name="connsiteX7" fmla="*/ 9185303 w 12191999"/>
              <a:gd name="connsiteY7" fmla="*/ 6100308 h 6858000"/>
              <a:gd name="connsiteX8" fmla="*/ 5342410 w 12191999"/>
              <a:gd name="connsiteY8" fmla="*/ 5330181 h 6858000"/>
              <a:gd name="connsiteX9" fmla="*/ 5338269 w 12191999"/>
              <a:gd name="connsiteY9" fmla="*/ 5332661 h 6858000"/>
              <a:gd name="connsiteX10" fmla="*/ 5322064 w 12191999"/>
              <a:gd name="connsiteY10" fmla="*/ 5334006 h 6858000"/>
              <a:gd name="connsiteX11" fmla="*/ 5335111 w 12191999"/>
              <a:gd name="connsiteY11" fmla="*/ 5336578 h 6858000"/>
              <a:gd name="connsiteX12" fmla="*/ 5337848 w 12191999"/>
              <a:gd name="connsiteY12" fmla="*/ 5340523 h 6858000"/>
              <a:gd name="connsiteX13" fmla="*/ 5338130 w 12191999"/>
              <a:gd name="connsiteY13" fmla="*/ 5335883 h 6858000"/>
              <a:gd name="connsiteX14" fmla="*/ 11820900 w 12191999"/>
              <a:gd name="connsiteY14" fmla="*/ 4311166 h 6858000"/>
              <a:gd name="connsiteX15" fmla="*/ 11955244 w 12191999"/>
              <a:gd name="connsiteY15" fmla="*/ 4373182 h 6858000"/>
              <a:gd name="connsiteX16" fmla="*/ 11941805 w 12191999"/>
              <a:gd name="connsiteY16" fmla="*/ 4490463 h 6858000"/>
              <a:gd name="connsiteX17" fmla="*/ 11911265 w 12191999"/>
              <a:gd name="connsiteY17" fmla="*/ 4531997 h 6858000"/>
              <a:gd name="connsiteX18" fmla="*/ 11974790 w 12191999"/>
              <a:gd name="connsiteY18" fmla="*/ 4572310 h 6858000"/>
              <a:gd name="connsiteX19" fmla="*/ 12175141 w 12191999"/>
              <a:gd name="connsiteY19" fmla="*/ 4571090 h 6858000"/>
              <a:gd name="connsiteX20" fmla="*/ 12191999 w 12191999"/>
              <a:gd name="connsiteY20" fmla="*/ 4574294 h 6858000"/>
              <a:gd name="connsiteX21" fmla="*/ 12191999 w 12191999"/>
              <a:gd name="connsiteY21" fmla="*/ 5337457 h 6858000"/>
              <a:gd name="connsiteX22" fmla="*/ 12177584 w 12191999"/>
              <a:gd name="connsiteY22" fmla="*/ 5340730 h 6858000"/>
              <a:gd name="connsiteX23" fmla="*/ 11982120 w 12191999"/>
              <a:gd name="connsiteY23" fmla="*/ 5339507 h 6858000"/>
              <a:gd name="connsiteX24" fmla="*/ 11928367 w 12191999"/>
              <a:gd name="connsiteY24" fmla="*/ 5354166 h 6858000"/>
              <a:gd name="connsiteX25" fmla="*/ 11927145 w 12191999"/>
              <a:gd name="connsiteY25" fmla="*/ 5409142 h 6858000"/>
              <a:gd name="connsiteX26" fmla="*/ 11971125 w 12191999"/>
              <a:gd name="connsiteY26" fmla="*/ 5504430 h 6858000"/>
              <a:gd name="connsiteX27" fmla="*/ 11873393 w 12191999"/>
              <a:gd name="connsiteY27" fmla="*/ 5592389 h 6858000"/>
              <a:gd name="connsiteX28" fmla="*/ 11703584 w 12191999"/>
              <a:gd name="connsiteY28" fmla="*/ 5530084 h 6858000"/>
              <a:gd name="connsiteX29" fmla="*/ 11723129 w 12191999"/>
              <a:gd name="connsiteY29" fmla="*/ 5417694 h 6858000"/>
              <a:gd name="connsiteX30" fmla="*/ 11751228 w 12191999"/>
              <a:gd name="connsiteY30" fmla="*/ 5374936 h 6858000"/>
              <a:gd name="connsiteX31" fmla="*/ 11690146 w 12191999"/>
              <a:gd name="connsiteY31" fmla="*/ 5338287 h 6858000"/>
              <a:gd name="connsiteX32" fmla="*/ 11489795 w 12191999"/>
              <a:gd name="connsiteY32" fmla="*/ 5339507 h 6858000"/>
              <a:gd name="connsiteX33" fmla="*/ 11447036 w 12191999"/>
              <a:gd name="connsiteY33" fmla="*/ 5295528 h 6858000"/>
              <a:gd name="connsiteX34" fmla="*/ 11449481 w 12191999"/>
              <a:gd name="connsiteY34" fmla="*/ 5202683 h 6858000"/>
              <a:gd name="connsiteX35" fmla="*/ 11449481 w 12191999"/>
              <a:gd name="connsiteY35" fmla="*/ 5092735 h 6858000"/>
              <a:gd name="connsiteX36" fmla="*/ 11492238 w 12191999"/>
              <a:gd name="connsiteY36" fmla="*/ 5018215 h 6858000"/>
              <a:gd name="connsiteX37" fmla="*/ 11545990 w 12191999"/>
              <a:gd name="connsiteY37" fmla="*/ 5025544 h 6858000"/>
              <a:gd name="connsiteX38" fmla="*/ 11668156 w 12191999"/>
              <a:gd name="connsiteY38" fmla="*/ 5051198 h 6858000"/>
              <a:gd name="connsiteX39" fmla="*/ 11682816 w 12191999"/>
              <a:gd name="connsiteY39" fmla="*/ 4877723 h 6858000"/>
              <a:gd name="connsiteX40" fmla="*/ 11555765 w 12191999"/>
              <a:gd name="connsiteY40" fmla="*/ 4874058 h 6858000"/>
              <a:gd name="connsiteX41" fmla="*/ 11508120 w 12191999"/>
              <a:gd name="connsiteY41" fmla="*/ 4902158 h 6858000"/>
              <a:gd name="connsiteX42" fmla="*/ 11450701 w 12191999"/>
              <a:gd name="connsiteY42" fmla="*/ 4839852 h 6858000"/>
              <a:gd name="connsiteX43" fmla="*/ 11448258 w 12191999"/>
              <a:gd name="connsiteY43" fmla="*/ 4591857 h 6858000"/>
              <a:gd name="connsiteX44" fmla="*/ 11477578 w 12191999"/>
              <a:gd name="connsiteY44" fmla="*/ 4573534 h 6858000"/>
              <a:gd name="connsiteX45" fmla="*/ 11677929 w 12191999"/>
              <a:gd name="connsiteY45" fmla="*/ 4573534 h 6858000"/>
              <a:gd name="connsiteX46" fmla="*/ 11728016 w 12191999"/>
              <a:gd name="connsiteY46" fmla="*/ 4562539 h 6858000"/>
              <a:gd name="connsiteX47" fmla="*/ 11735346 w 12191999"/>
              <a:gd name="connsiteY47" fmla="*/ 4500233 h 6858000"/>
              <a:gd name="connsiteX48" fmla="*/ 11768331 w 12191999"/>
              <a:gd name="connsiteY48" fmla="*/ 4323095 h 6858000"/>
              <a:gd name="connsiteX49" fmla="*/ 11820900 w 12191999"/>
              <a:gd name="connsiteY49" fmla="*/ 4311166 h 6858000"/>
              <a:gd name="connsiteX50" fmla="*/ 5742911 w 12191999"/>
              <a:gd name="connsiteY50" fmla="*/ 3557222 h 6858000"/>
              <a:gd name="connsiteX51" fmla="*/ 5851336 w 12191999"/>
              <a:gd name="connsiteY51" fmla="*/ 3613963 h 6858000"/>
              <a:gd name="connsiteX52" fmla="*/ 5840341 w 12191999"/>
              <a:gd name="connsiteY52" fmla="*/ 3736128 h 6858000"/>
              <a:gd name="connsiteX53" fmla="*/ 5811021 w 12191999"/>
              <a:gd name="connsiteY53" fmla="*/ 3780107 h 6858000"/>
              <a:gd name="connsiteX54" fmla="*/ 5873327 w 12191999"/>
              <a:gd name="connsiteY54" fmla="*/ 3815534 h 6858000"/>
              <a:gd name="connsiteX55" fmla="*/ 6082230 w 12191999"/>
              <a:gd name="connsiteY55" fmla="*/ 3814314 h 6858000"/>
              <a:gd name="connsiteX56" fmla="*/ 6115900 w 12191999"/>
              <a:gd name="connsiteY56" fmla="*/ 3831149 h 6858000"/>
              <a:gd name="connsiteX57" fmla="*/ 6116334 w 12191999"/>
              <a:gd name="connsiteY57" fmla="*/ 3835442 h 6858000"/>
              <a:gd name="connsiteX58" fmla="*/ 6135367 w 12191999"/>
              <a:gd name="connsiteY58" fmla="*/ 3820781 h 6858000"/>
              <a:gd name="connsiteX59" fmla="*/ 6165468 w 12191999"/>
              <a:gd name="connsiteY59" fmla="*/ 3821240 h 6858000"/>
              <a:gd name="connsiteX60" fmla="*/ 6250984 w 12191999"/>
              <a:gd name="connsiteY60" fmla="*/ 3822462 h 6858000"/>
              <a:gd name="connsiteX61" fmla="*/ 6356045 w 12191999"/>
              <a:gd name="connsiteY61" fmla="*/ 3822462 h 6858000"/>
              <a:gd name="connsiteX62" fmla="*/ 6434230 w 12191999"/>
              <a:gd name="connsiteY62" fmla="*/ 3873772 h 6858000"/>
              <a:gd name="connsiteX63" fmla="*/ 6401245 w 12191999"/>
              <a:gd name="connsiteY63" fmla="*/ 3938519 h 6858000"/>
              <a:gd name="connsiteX64" fmla="*/ 6395138 w 12191999"/>
              <a:gd name="connsiteY64" fmla="*/ 4039916 h 6858000"/>
              <a:gd name="connsiteX65" fmla="*/ 6574721 w 12191999"/>
              <a:gd name="connsiteY65" fmla="*/ 4054576 h 6858000"/>
              <a:gd name="connsiteX66" fmla="*/ 6575941 w 12191999"/>
              <a:gd name="connsiteY66" fmla="*/ 3931189 h 6858000"/>
              <a:gd name="connsiteX67" fmla="*/ 6547844 w 12191999"/>
              <a:gd name="connsiteY67" fmla="*/ 3883545 h 6858000"/>
              <a:gd name="connsiteX68" fmla="*/ 6610148 w 12191999"/>
              <a:gd name="connsiteY68" fmla="*/ 3826127 h 6858000"/>
              <a:gd name="connsiteX69" fmla="*/ 6856921 w 12191999"/>
              <a:gd name="connsiteY69" fmla="*/ 3823685 h 6858000"/>
              <a:gd name="connsiteX70" fmla="*/ 6875246 w 12191999"/>
              <a:gd name="connsiteY70" fmla="*/ 3853004 h 6858000"/>
              <a:gd name="connsiteX71" fmla="*/ 6875246 w 12191999"/>
              <a:gd name="connsiteY71" fmla="*/ 4053355 h 6858000"/>
              <a:gd name="connsiteX72" fmla="*/ 6892348 w 12191999"/>
              <a:gd name="connsiteY72" fmla="*/ 4110773 h 6858000"/>
              <a:gd name="connsiteX73" fmla="*/ 6948545 w 12191999"/>
              <a:gd name="connsiteY73" fmla="*/ 4110773 h 6858000"/>
              <a:gd name="connsiteX74" fmla="*/ 7117131 w 12191999"/>
              <a:gd name="connsiteY74" fmla="*/ 4126653 h 6858000"/>
              <a:gd name="connsiteX75" fmla="*/ 7080482 w 12191999"/>
              <a:gd name="connsiteY75" fmla="*/ 4328224 h 6858000"/>
              <a:gd name="connsiteX76" fmla="*/ 6959540 w 12191999"/>
              <a:gd name="connsiteY76" fmla="*/ 4317229 h 6858000"/>
              <a:gd name="connsiteX77" fmla="*/ 6914338 w 12191999"/>
              <a:gd name="connsiteY77" fmla="*/ 4287910 h 6858000"/>
              <a:gd name="connsiteX78" fmla="*/ 6877689 w 12191999"/>
              <a:gd name="connsiteY78" fmla="*/ 4350213 h 6858000"/>
              <a:gd name="connsiteX79" fmla="*/ 6878911 w 12191999"/>
              <a:gd name="connsiteY79" fmla="*/ 4550565 h 6858000"/>
              <a:gd name="connsiteX80" fmla="*/ 6838596 w 12191999"/>
              <a:gd name="connsiteY80" fmla="*/ 4592100 h 6858000"/>
              <a:gd name="connsiteX81" fmla="*/ 6648020 w 12191999"/>
              <a:gd name="connsiteY81" fmla="*/ 4590880 h 6858000"/>
              <a:gd name="connsiteX82" fmla="*/ 6594266 w 12191999"/>
              <a:gd name="connsiteY82" fmla="*/ 4604318 h 6858000"/>
              <a:gd name="connsiteX83" fmla="*/ 6591823 w 12191999"/>
              <a:gd name="connsiteY83" fmla="*/ 4662956 h 6858000"/>
              <a:gd name="connsiteX84" fmla="*/ 6589381 w 12191999"/>
              <a:gd name="connsiteY84" fmla="*/ 4819328 h 6858000"/>
              <a:gd name="connsiteX85" fmla="*/ 6375592 w 12191999"/>
              <a:gd name="connsiteY85" fmla="*/ 4796116 h 6858000"/>
              <a:gd name="connsiteX86" fmla="*/ 6385365 w 12191999"/>
              <a:gd name="connsiteY86" fmla="*/ 4670287 h 6858000"/>
              <a:gd name="connsiteX87" fmla="*/ 6415905 w 12191999"/>
              <a:gd name="connsiteY87" fmla="*/ 4628749 h 6858000"/>
              <a:gd name="connsiteX88" fmla="*/ 6351158 w 12191999"/>
              <a:gd name="connsiteY88" fmla="*/ 4589658 h 6858000"/>
              <a:gd name="connsiteX89" fmla="*/ 6150809 w 12191999"/>
              <a:gd name="connsiteY89" fmla="*/ 4590880 h 6858000"/>
              <a:gd name="connsiteX90" fmla="*/ 6117367 w 12191999"/>
              <a:gd name="connsiteY90" fmla="*/ 4582327 h 6858000"/>
              <a:gd name="connsiteX91" fmla="*/ 6114197 w 12191999"/>
              <a:gd name="connsiteY91" fmla="*/ 4575109 h 6858000"/>
              <a:gd name="connsiteX92" fmla="*/ 6109104 w 12191999"/>
              <a:gd name="connsiteY92" fmla="*/ 4582272 h 6858000"/>
              <a:gd name="connsiteX93" fmla="*/ 6087114 w 12191999"/>
              <a:gd name="connsiteY93" fmla="*/ 4586396 h 6858000"/>
              <a:gd name="connsiteX94" fmla="*/ 5863552 w 12191999"/>
              <a:gd name="connsiteY94" fmla="*/ 4586396 h 6858000"/>
              <a:gd name="connsiteX95" fmla="*/ 5802472 w 12191999"/>
              <a:gd name="connsiteY95" fmla="*/ 4555854 h 6858000"/>
              <a:gd name="connsiteX96" fmla="*/ 5807356 w 12191999"/>
              <a:gd name="connsiteY96" fmla="*/ 4480114 h 6858000"/>
              <a:gd name="connsiteX97" fmla="*/ 5847670 w 12191999"/>
              <a:gd name="connsiteY97" fmla="*/ 4403148 h 6858000"/>
              <a:gd name="connsiteX98" fmla="*/ 5752384 w 12191999"/>
              <a:gd name="connsiteY98" fmla="*/ 4329849 h 6858000"/>
              <a:gd name="connsiteX99" fmla="*/ 5628995 w 12191999"/>
              <a:gd name="connsiteY99" fmla="*/ 4372606 h 6858000"/>
              <a:gd name="connsiteX100" fmla="*/ 5638769 w 12191999"/>
              <a:gd name="connsiteY100" fmla="*/ 4470339 h 6858000"/>
              <a:gd name="connsiteX101" fmla="*/ 5674197 w 12191999"/>
              <a:gd name="connsiteY101" fmla="*/ 4527758 h 6858000"/>
              <a:gd name="connsiteX102" fmla="*/ 5591125 w 12191999"/>
              <a:gd name="connsiteY102" fmla="*/ 4586396 h 6858000"/>
              <a:gd name="connsiteX103" fmla="*/ 5377337 w 12191999"/>
              <a:gd name="connsiteY103" fmla="*/ 4586396 h 6858000"/>
              <a:gd name="connsiteX104" fmla="*/ 5346796 w 12191999"/>
              <a:gd name="connsiteY104" fmla="*/ 4553411 h 6858000"/>
              <a:gd name="connsiteX105" fmla="*/ 5348016 w 12191999"/>
              <a:gd name="connsiteY105" fmla="*/ 4353059 h 6858000"/>
              <a:gd name="connsiteX106" fmla="*/ 5327249 w 12191999"/>
              <a:gd name="connsiteY106" fmla="*/ 4291978 h 6858000"/>
              <a:gd name="connsiteX107" fmla="*/ 5278383 w 12191999"/>
              <a:gd name="connsiteY107" fmla="*/ 4293199 h 6858000"/>
              <a:gd name="connsiteX108" fmla="*/ 5174543 w 12191999"/>
              <a:gd name="connsiteY108" fmla="*/ 4337181 h 6858000"/>
              <a:gd name="connsiteX109" fmla="*/ 5089026 w 12191999"/>
              <a:gd name="connsiteY109" fmla="*/ 4221122 h 6858000"/>
              <a:gd name="connsiteX110" fmla="*/ 5144002 w 12191999"/>
              <a:gd name="connsiteY110" fmla="*/ 4078190 h 6858000"/>
              <a:gd name="connsiteX111" fmla="*/ 5264946 w 12191999"/>
              <a:gd name="connsiteY111" fmla="*/ 4087965 h 6858000"/>
              <a:gd name="connsiteX112" fmla="*/ 5311367 w 12191999"/>
              <a:gd name="connsiteY112" fmla="*/ 4117283 h 6858000"/>
              <a:gd name="connsiteX113" fmla="*/ 5346796 w 12191999"/>
              <a:gd name="connsiteY113" fmla="*/ 4054980 h 6858000"/>
              <a:gd name="connsiteX114" fmla="*/ 5345574 w 12191999"/>
              <a:gd name="connsiteY114" fmla="*/ 3849742 h 6858000"/>
              <a:gd name="connsiteX115" fmla="*/ 5381003 w 12191999"/>
              <a:gd name="connsiteY115" fmla="*/ 3811870 h 6858000"/>
              <a:gd name="connsiteX116" fmla="*/ 5486063 w 12191999"/>
              <a:gd name="connsiteY116" fmla="*/ 3815534 h 6858000"/>
              <a:gd name="connsiteX117" fmla="*/ 5596012 w 12191999"/>
              <a:gd name="connsiteY117" fmla="*/ 3815534 h 6858000"/>
              <a:gd name="connsiteX118" fmla="*/ 5650984 w 12191999"/>
              <a:gd name="connsiteY118" fmla="*/ 3777664 h 6858000"/>
              <a:gd name="connsiteX119" fmla="*/ 5625329 w 12191999"/>
              <a:gd name="connsiteY119" fmla="*/ 3738570 h 6858000"/>
              <a:gd name="connsiteX120" fmla="*/ 5649765 w 12191999"/>
              <a:gd name="connsiteY120" fmla="*/ 3576091 h 6858000"/>
              <a:gd name="connsiteX121" fmla="*/ 5700845 w 12191999"/>
              <a:gd name="connsiteY121" fmla="*/ 3557958 h 6858000"/>
              <a:gd name="connsiteX122" fmla="*/ 5742911 w 12191999"/>
              <a:gd name="connsiteY122" fmla="*/ 3557222 h 6858000"/>
              <a:gd name="connsiteX123" fmla="*/ 5726517 w 12191999"/>
              <a:gd name="connsiteY123" fmla="*/ 2017504 h 6858000"/>
              <a:gd name="connsiteX124" fmla="*/ 5834786 w 12191999"/>
              <a:gd name="connsiteY124" fmla="*/ 2083015 h 6858000"/>
              <a:gd name="connsiteX125" fmla="*/ 5820126 w 12191999"/>
              <a:gd name="connsiteY125" fmla="*/ 2192965 h 6858000"/>
              <a:gd name="connsiteX126" fmla="*/ 5787140 w 12191999"/>
              <a:gd name="connsiteY126" fmla="*/ 2236943 h 6858000"/>
              <a:gd name="connsiteX127" fmla="*/ 5855555 w 12191999"/>
              <a:gd name="connsiteY127" fmla="*/ 2277258 h 6858000"/>
              <a:gd name="connsiteX128" fmla="*/ 6041243 w 12191999"/>
              <a:gd name="connsiteY128" fmla="*/ 2276037 h 6858000"/>
              <a:gd name="connsiteX129" fmla="*/ 6093775 w 12191999"/>
              <a:gd name="connsiteY129" fmla="*/ 2326124 h 6858000"/>
              <a:gd name="connsiteX130" fmla="*/ 6092553 w 12191999"/>
              <a:gd name="connsiteY130" fmla="*/ 2516703 h 6858000"/>
              <a:gd name="connsiteX131" fmla="*/ 6121873 w 12191999"/>
              <a:gd name="connsiteY131" fmla="*/ 2577785 h 6858000"/>
              <a:gd name="connsiteX132" fmla="*/ 6154856 w 12191999"/>
              <a:gd name="connsiteY132" fmla="*/ 2574120 h 6858000"/>
              <a:gd name="connsiteX133" fmla="*/ 6351542 w 12191999"/>
              <a:gd name="connsiteY133" fmla="*/ 2611990 h 6858000"/>
              <a:gd name="connsiteX134" fmla="*/ 6352764 w 12191999"/>
              <a:gd name="connsiteY134" fmla="*/ 2708501 h 6858000"/>
              <a:gd name="connsiteX135" fmla="*/ 6300232 w 12191999"/>
              <a:gd name="connsiteY135" fmla="*/ 2779356 h 6858000"/>
              <a:gd name="connsiteX136" fmla="*/ 6170739 w 12191999"/>
              <a:gd name="connsiteY136" fmla="*/ 2769584 h 6858000"/>
              <a:gd name="connsiteX137" fmla="*/ 6129202 w 12191999"/>
              <a:gd name="connsiteY137" fmla="*/ 2742708 h 6858000"/>
              <a:gd name="connsiteX138" fmla="*/ 6093775 w 12191999"/>
              <a:gd name="connsiteY138" fmla="*/ 2800124 h 6858000"/>
              <a:gd name="connsiteX139" fmla="*/ 6094997 w 12191999"/>
              <a:gd name="connsiteY139" fmla="*/ 3009027 h 6858000"/>
              <a:gd name="connsiteX140" fmla="*/ 6054683 w 12191999"/>
              <a:gd name="connsiteY140" fmla="*/ 3046899 h 6858000"/>
              <a:gd name="connsiteX141" fmla="*/ 5859220 w 12191999"/>
              <a:gd name="connsiteY141" fmla="*/ 3045676 h 6858000"/>
              <a:gd name="connsiteX142" fmla="*/ 5805467 w 12191999"/>
              <a:gd name="connsiteY142" fmla="*/ 3060336 h 6858000"/>
              <a:gd name="connsiteX143" fmla="*/ 5804246 w 12191999"/>
              <a:gd name="connsiteY143" fmla="*/ 3116533 h 6858000"/>
              <a:gd name="connsiteX144" fmla="*/ 5849445 w 12191999"/>
              <a:gd name="connsiteY144" fmla="*/ 3206935 h 6858000"/>
              <a:gd name="connsiteX145" fmla="*/ 5751713 w 12191999"/>
              <a:gd name="connsiteY145" fmla="*/ 3299780 h 6858000"/>
              <a:gd name="connsiteX146" fmla="*/ 5581905 w 12191999"/>
              <a:gd name="connsiteY146" fmla="*/ 3237475 h 6858000"/>
              <a:gd name="connsiteX147" fmla="*/ 5601451 w 12191999"/>
              <a:gd name="connsiteY147" fmla="*/ 3125084 h 6858000"/>
              <a:gd name="connsiteX148" fmla="*/ 5629551 w 12191999"/>
              <a:gd name="connsiteY148" fmla="*/ 3083549 h 6858000"/>
              <a:gd name="connsiteX149" fmla="*/ 5573353 w 12191999"/>
              <a:gd name="connsiteY149" fmla="*/ 3045676 h 6858000"/>
              <a:gd name="connsiteX150" fmla="*/ 5430421 w 12191999"/>
              <a:gd name="connsiteY150" fmla="*/ 3045676 h 6858000"/>
              <a:gd name="connsiteX151" fmla="*/ 5324139 w 12191999"/>
              <a:gd name="connsiteY151" fmla="*/ 2938172 h 6858000"/>
              <a:gd name="connsiteX152" fmla="*/ 5324139 w 12191999"/>
              <a:gd name="connsiteY152" fmla="*/ 2805010 h 6858000"/>
              <a:gd name="connsiteX153" fmla="*/ 5355900 w 12191999"/>
              <a:gd name="connsiteY153" fmla="*/ 2734156 h 6858000"/>
              <a:gd name="connsiteX154" fmla="*/ 5427977 w 12191999"/>
              <a:gd name="connsiteY154" fmla="*/ 2737821 h 6858000"/>
              <a:gd name="connsiteX155" fmla="*/ 5508607 w 12191999"/>
              <a:gd name="connsiteY155" fmla="*/ 2780578 h 6858000"/>
              <a:gd name="connsiteX156" fmla="*/ 5581905 w 12191999"/>
              <a:gd name="connsiteY156" fmla="*/ 2674294 h 6858000"/>
              <a:gd name="connsiteX157" fmla="*/ 5537926 w 12191999"/>
              <a:gd name="connsiteY157" fmla="*/ 2560681 h 6858000"/>
              <a:gd name="connsiteX158" fmla="*/ 5440195 w 12191999"/>
              <a:gd name="connsiteY158" fmla="*/ 2570454 h 6858000"/>
              <a:gd name="connsiteX159" fmla="*/ 5382779 w 12191999"/>
              <a:gd name="connsiteY159" fmla="*/ 2605882 h 6858000"/>
              <a:gd name="connsiteX160" fmla="*/ 5324139 w 12191999"/>
              <a:gd name="connsiteY160" fmla="*/ 2527695 h 6858000"/>
              <a:gd name="connsiteX161" fmla="*/ 5322917 w 12191999"/>
              <a:gd name="connsiteY161" fmla="*/ 2304134 h 6858000"/>
              <a:gd name="connsiteX162" fmla="*/ 5351016 w 12191999"/>
              <a:gd name="connsiteY162" fmla="*/ 2278479 h 6858000"/>
              <a:gd name="connsiteX163" fmla="*/ 5556254 w 12191999"/>
              <a:gd name="connsiteY163" fmla="*/ 2278479 h 6858000"/>
              <a:gd name="connsiteX164" fmla="*/ 5610003 w 12191999"/>
              <a:gd name="connsiteY164" fmla="*/ 2263820 h 6858000"/>
              <a:gd name="connsiteX165" fmla="*/ 5611225 w 12191999"/>
              <a:gd name="connsiteY165" fmla="*/ 2203958 h 6858000"/>
              <a:gd name="connsiteX166" fmla="*/ 5606337 w 12191999"/>
              <a:gd name="connsiteY166" fmla="*/ 2053696 h 6858000"/>
              <a:gd name="connsiteX167" fmla="*/ 5726517 w 12191999"/>
              <a:gd name="connsiteY167" fmla="*/ 2017504 h 6858000"/>
              <a:gd name="connsiteX168" fmla="*/ 0 w 12191999"/>
              <a:gd name="connsiteY168" fmla="*/ 0 h 6858000"/>
              <a:gd name="connsiteX169" fmla="*/ 5329115 w 12191999"/>
              <a:gd name="connsiteY169" fmla="*/ 0 h 6858000"/>
              <a:gd name="connsiteX170" fmla="*/ 5332434 w 12191999"/>
              <a:gd name="connsiteY170" fmla="*/ 5729 h 6858000"/>
              <a:gd name="connsiteX171" fmla="*/ 5334132 w 12191999"/>
              <a:gd name="connsiteY171" fmla="*/ 27166 h 6858000"/>
              <a:gd name="connsiteX172" fmla="*/ 5332910 w 12191999"/>
              <a:gd name="connsiteY172" fmla="*/ 227517 h 6858000"/>
              <a:gd name="connsiteX173" fmla="*/ 5346347 w 12191999"/>
              <a:gd name="connsiteY173" fmla="*/ 276382 h 6858000"/>
              <a:gd name="connsiteX174" fmla="*/ 5402544 w 12191999"/>
              <a:gd name="connsiteY174" fmla="*/ 277604 h 6858000"/>
              <a:gd name="connsiteX175" fmla="*/ 5582127 w 12191999"/>
              <a:gd name="connsiteY175" fmla="*/ 317919 h 6858000"/>
              <a:gd name="connsiteX176" fmla="*/ 5523486 w 12191999"/>
              <a:gd name="connsiteY176" fmla="*/ 501165 h 6858000"/>
              <a:gd name="connsiteX177" fmla="*/ 5411097 w 12191999"/>
              <a:gd name="connsiteY177" fmla="*/ 481620 h 6858000"/>
              <a:gd name="connsiteX178" fmla="*/ 5369558 w 12191999"/>
              <a:gd name="connsiteY178" fmla="*/ 453522 h 6858000"/>
              <a:gd name="connsiteX179" fmla="*/ 5332910 w 12191999"/>
              <a:gd name="connsiteY179" fmla="*/ 514605 h 6858000"/>
              <a:gd name="connsiteX180" fmla="*/ 5334132 w 12191999"/>
              <a:gd name="connsiteY180" fmla="*/ 719841 h 6858000"/>
              <a:gd name="connsiteX181" fmla="*/ 5295041 w 12191999"/>
              <a:gd name="connsiteY181" fmla="*/ 760156 h 6858000"/>
              <a:gd name="connsiteX182" fmla="*/ 5094692 w 12191999"/>
              <a:gd name="connsiteY182" fmla="*/ 758935 h 6858000"/>
              <a:gd name="connsiteX183" fmla="*/ 5045820 w 12191999"/>
              <a:gd name="connsiteY183" fmla="*/ 772373 h 6858000"/>
              <a:gd name="connsiteX184" fmla="*/ 5043379 w 12191999"/>
              <a:gd name="connsiteY184" fmla="*/ 831012 h 6858000"/>
              <a:gd name="connsiteX185" fmla="*/ 5031161 w 12191999"/>
              <a:gd name="connsiteY185" fmla="*/ 997156 h 6858000"/>
              <a:gd name="connsiteX186" fmla="*/ 4818594 w 12191999"/>
              <a:gd name="connsiteY186" fmla="*/ 949511 h 6858000"/>
              <a:gd name="connsiteX187" fmla="*/ 4840582 w 12191999"/>
              <a:gd name="connsiteY187" fmla="*/ 837120 h 6858000"/>
              <a:gd name="connsiteX188" fmla="*/ 4866234 w 12191999"/>
              <a:gd name="connsiteY188" fmla="*/ 793140 h 6858000"/>
              <a:gd name="connsiteX189" fmla="*/ 4808822 w 12191999"/>
              <a:gd name="connsiteY189" fmla="*/ 758935 h 6858000"/>
              <a:gd name="connsiteX190" fmla="*/ 4595032 w 12191999"/>
              <a:gd name="connsiteY190" fmla="*/ 760156 h 6858000"/>
              <a:gd name="connsiteX191" fmla="*/ 4573923 w 12191999"/>
              <a:gd name="connsiteY191" fmla="*/ 757192 h 6858000"/>
              <a:gd name="connsiteX192" fmla="*/ 4572290 w 12191999"/>
              <a:gd name="connsiteY192" fmla="*/ 755075 h 6858000"/>
              <a:gd name="connsiteX193" fmla="*/ 4542110 w 12191999"/>
              <a:gd name="connsiteY193" fmla="*/ 755075 h 6858000"/>
              <a:gd name="connsiteX194" fmla="*/ 4532620 w 12191999"/>
              <a:gd name="connsiteY194" fmla="*/ 757803 h 6858000"/>
              <a:gd name="connsiteX195" fmla="*/ 4318830 w 12191999"/>
              <a:gd name="connsiteY195" fmla="*/ 757803 h 6858000"/>
              <a:gd name="connsiteX196" fmla="*/ 4252861 w 12191999"/>
              <a:gd name="connsiteY196" fmla="*/ 727261 h 6858000"/>
              <a:gd name="connsiteX197" fmla="*/ 4257749 w 12191999"/>
              <a:gd name="connsiteY197" fmla="*/ 652741 h 6858000"/>
              <a:gd name="connsiteX198" fmla="*/ 4298063 w 12191999"/>
              <a:gd name="connsiteY198" fmla="*/ 570889 h 6858000"/>
              <a:gd name="connsiteX199" fmla="*/ 4205214 w 12191999"/>
              <a:gd name="connsiteY199" fmla="*/ 501255 h 6858000"/>
              <a:gd name="connsiteX200" fmla="*/ 4087942 w 12191999"/>
              <a:gd name="connsiteY200" fmla="*/ 535462 h 6858000"/>
              <a:gd name="connsiteX201" fmla="*/ 4094050 w 12191999"/>
              <a:gd name="connsiteY201" fmla="*/ 644189 h 6858000"/>
              <a:gd name="connsiteX202" fmla="*/ 4127035 w 12191999"/>
              <a:gd name="connsiteY202" fmla="*/ 700384 h 6858000"/>
              <a:gd name="connsiteX203" fmla="*/ 4057400 w 12191999"/>
              <a:gd name="connsiteY203" fmla="*/ 757803 h 6858000"/>
              <a:gd name="connsiteX204" fmla="*/ 3819179 w 12191999"/>
              <a:gd name="connsiteY204" fmla="*/ 759023 h 6858000"/>
              <a:gd name="connsiteX205" fmla="*/ 3813849 w 12191999"/>
              <a:gd name="connsiteY205" fmla="*/ 756900 h 6858000"/>
              <a:gd name="connsiteX206" fmla="*/ 3810549 w 12191999"/>
              <a:gd name="connsiteY206" fmla="*/ 758781 h 6858000"/>
              <a:gd name="connsiteX207" fmla="*/ 3815750 w 12191999"/>
              <a:gd name="connsiteY207" fmla="*/ 768157 h 6858000"/>
              <a:gd name="connsiteX208" fmla="*/ 3817238 w 12191999"/>
              <a:gd name="connsiteY208" fmla="*/ 788353 h 6858000"/>
              <a:gd name="connsiteX209" fmla="*/ 3816018 w 12191999"/>
              <a:gd name="connsiteY209" fmla="*/ 983816 h 6858000"/>
              <a:gd name="connsiteX210" fmla="*/ 3789144 w 12191999"/>
              <a:gd name="connsiteY210" fmla="*/ 1057116 h 6858000"/>
              <a:gd name="connsiteX211" fmla="*/ 3708516 w 12191999"/>
              <a:gd name="connsiteY211" fmla="*/ 1053451 h 6858000"/>
              <a:gd name="connsiteX212" fmla="*/ 3635219 w 12191999"/>
              <a:gd name="connsiteY212" fmla="*/ 1014358 h 6858000"/>
              <a:gd name="connsiteX213" fmla="*/ 3560696 w 12191999"/>
              <a:gd name="connsiteY213" fmla="*/ 1098651 h 6858000"/>
              <a:gd name="connsiteX214" fmla="*/ 3603457 w 12191999"/>
              <a:gd name="connsiteY214" fmla="*/ 1235477 h 6858000"/>
              <a:gd name="connsiteX215" fmla="*/ 3697521 w 12191999"/>
              <a:gd name="connsiteY215" fmla="*/ 1226924 h 6858000"/>
              <a:gd name="connsiteX216" fmla="*/ 3759825 w 12191999"/>
              <a:gd name="connsiteY216" fmla="*/ 1190276 h 6858000"/>
              <a:gd name="connsiteX217" fmla="*/ 3816018 w 12191999"/>
              <a:gd name="connsiteY217" fmla="*/ 1270905 h 6858000"/>
              <a:gd name="connsiteX218" fmla="*/ 3817238 w 12191999"/>
              <a:gd name="connsiteY218" fmla="*/ 1489580 h 6858000"/>
              <a:gd name="connsiteX219" fmla="*/ 3811589 w 12191999"/>
              <a:gd name="connsiteY219" fmla="*/ 1511264 h 6858000"/>
              <a:gd name="connsiteX220" fmla="*/ 3801031 w 12191999"/>
              <a:gd name="connsiteY220" fmla="*/ 1513846 h 6858000"/>
              <a:gd name="connsiteX221" fmla="*/ 3806488 w 12191999"/>
              <a:gd name="connsiteY221" fmla="*/ 1516917 h 6858000"/>
              <a:gd name="connsiteX222" fmla="*/ 3807926 w 12191999"/>
              <a:gd name="connsiteY222" fmla="*/ 1520360 h 6858000"/>
              <a:gd name="connsiteX223" fmla="*/ 3814241 w 12191999"/>
              <a:gd name="connsiteY223" fmla="*/ 1520360 h 6858000"/>
              <a:gd name="connsiteX224" fmla="*/ 3829058 w 12191999"/>
              <a:gd name="connsiteY224" fmla="*/ 1502514 h 6858000"/>
              <a:gd name="connsiteX225" fmla="*/ 3863824 w 12191999"/>
              <a:gd name="connsiteY225" fmla="*/ 1499658 h 6858000"/>
              <a:gd name="connsiteX226" fmla="*/ 4049516 w 12191999"/>
              <a:gd name="connsiteY226" fmla="*/ 1500879 h 6858000"/>
              <a:gd name="connsiteX227" fmla="*/ 4117929 w 12191999"/>
              <a:gd name="connsiteY227" fmla="*/ 1460565 h 6858000"/>
              <a:gd name="connsiteX228" fmla="*/ 4084945 w 12191999"/>
              <a:gd name="connsiteY228" fmla="*/ 1416587 h 6858000"/>
              <a:gd name="connsiteX229" fmla="*/ 4070285 w 12191999"/>
              <a:gd name="connsiteY229" fmla="*/ 1306638 h 6858000"/>
              <a:gd name="connsiteX230" fmla="*/ 4178554 w 12191999"/>
              <a:gd name="connsiteY230" fmla="*/ 1241127 h 6858000"/>
              <a:gd name="connsiteX231" fmla="*/ 4298729 w 12191999"/>
              <a:gd name="connsiteY231" fmla="*/ 1277318 h 6858000"/>
              <a:gd name="connsiteX232" fmla="*/ 4293841 w 12191999"/>
              <a:gd name="connsiteY232" fmla="*/ 1427580 h 6858000"/>
              <a:gd name="connsiteX233" fmla="*/ 4295062 w 12191999"/>
              <a:gd name="connsiteY233" fmla="*/ 1487441 h 6858000"/>
              <a:gd name="connsiteX234" fmla="*/ 4348815 w 12191999"/>
              <a:gd name="connsiteY234" fmla="*/ 1502101 h 6858000"/>
              <a:gd name="connsiteX235" fmla="*/ 4554055 w 12191999"/>
              <a:gd name="connsiteY235" fmla="*/ 1502101 h 6858000"/>
              <a:gd name="connsiteX236" fmla="*/ 4580339 w 12191999"/>
              <a:gd name="connsiteY236" fmla="*/ 1513955 h 6858000"/>
              <a:gd name="connsiteX237" fmla="*/ 4580382 w 12191999"/>
              <a:gd name="connsiteY237" fmla="*/ 1514287 h 6858000"/>
              <a:gd name="connsiteX238" fmla="*/ 4581432 w 12191999"/>
              <a:gd name="connsiteY238" fmla="*/ 1513558 h 6858000"/>
              <a:gd name="connsiteX239" fmla="*/ 4598057 w 12191999"/>
              <a:gd name="connsiteY239" fmla="*/ 1511994 h 6858000"/>
              <a:gd name="connsiteX240" fmla="*/ 4811845 w 12191999"/>
              <a:gd name="connsiteY240" fmla="*/ 1513216 h 6858000"/>
              <a:gd name="connsiteX241" fmla="*/ 4894918 w 12191999"/>
              <a:gd name="connsiteY241" fmla="*/ 1571855 h 6858000"/>
              <a:gd name="connsiteX242" fmla="*/ 4859491 w 12191999"/>
              <a:gd name="connsiteY242" fmla="*/ 1630493 h 6858000"/>
              <a:gd name="connsiteX243" fmla="*/ 4853383 w 12191999"/>
              <a:gd name="connsiteY243" fmla="*/ 1731891 h 6858000"/>
              <a:gd name="connsiteX244" fmla="*/ 4969438 w 12191999"/>
              <a:gd name="connsiteY244" fmla="*/ 1770984 h 6858000"/>
              <a:gd name="connsiteX245" fmla="*/ 5069614 w 12191999"/>
              <a:gd name="connsiteY245" fmla="*/ 1696462 h 6858000"/>
              <a:gd name="connsiteX246" fmla="*/ 5025634 w 12191999"/>
              <a:gd name="connsiteY246" fmla="*/ 1617055 h 6858000"/>
              <a:gd name="connsiteX247" fmla="*/ 5020749 w 12191999"/>
              <a:gd name="connsiteY247" fmla="*/ 1548643 h 6858000"/>
              <a:gd name="connsiteX248" fmla="*/ 5094050 w 12191999"/>
              <a:gd name="connsiteY248" fmla="*/ 1513216 h 6858000"/>
              <a:gd name="connsiteX249" fmla="*/ 5302949 w 12191999"/>
              <a:gd name="connsiteY249" fmla="*/ 1513216 h 6858000"/>
              <a:gd name="connsiteX250" fmla="*/ 5335935 w 12191999"/>
              <a:gd name="connsiteY250" fmla="*/ 1548643 h 6858000"/>
              <a:gd name="connsiteX251" fmla="*/ 5335935 w 12191999"/>
              <a:gd name="connsiteY251" fmla="*/ 1648817 h 6858000"/>
              <a:gd name="connsiteX252" fmla="*/ 5335935 w 12191999"/>
              <a:gd name="connsiteY252" fmla="*/ 1706237 h 6858000"/>
              <a:gd name="connsiteX253" fmla="*/ 5335935 w 12191999"/>
              <a:gd name="connsiteY253" fmla="*/ 1768539 h 6858000"/>
              <a:gd name="connsiteX254" fmla="*/ 5279741 w 12191999"/>
              <a:gd name="connsiteY254" fmla="*/ 1844283 h 6858000"/>
              <a:gd name="connsiteX255" fmla="*/ 5219879 w 12191999"/>
              <a:gd name="connsiteY255" fmla="*/ 1808854 h 6858000"/>
              <a:gd name="connsiteX256" fmla="*/ 5122147 w 12191999"/>
              <a:gd name="connsiteY256" fmla="*/ 1799081 h 6858000"/>
              <a:gd name="connsiteX257" fmla="*/ 5080610 w 12191999"/>
              <a:gd name="connsiteY257" fmla="*/ 1935906 h 6858000"/>
              <a:gd name="connsiteX258" fmla="*/ 5156351 w 12191999"/>
              <a:gd name="connsiteY258" fmla="*/ 2018979 h 6858000"/>
              <a:gd name="connsiteX259" fmla="*/ 5229651 w 12191999"/>
              <a:gd name="connsiteY259" fmla="*/ 1978665 h 6858000"/>
              <a:gd name="connsiteX260" fmla="*/ 5311502 w 12191999"/>
              <a:gd name="connsiteY260" fmla="*/ 1977443 h 6858000"/>
              <a:gd name="connsiteX261" fmla="*/ 5335935 w 12191999"/>
              <a:gd name="connsiteY261" fmla="*/ 2047077 h 6858000"/>
              <a:gd name="connsiteX262" fmla="*/ 5335935 w 12191999"/>
              <a:gd name="connsiteY262" fmla="*/ 2247429 h 6858000"/>
              <a:gd name="connsiteX263" fmla="*/ 5300506 w 12191999"/>
              <a:gd name="connsiteY263" fmla="*/ 2284079 h 6858000"/>
              <a:gd name="connsiteX264" fmla="*/ 5091606 w 12191999"/>
              <a:gd name="connsiteY264" fmla="*/ 2282856 h 6858000"/>
              <a:gd name="connsiteX265" fmla="*/ 5030522 w 12191999"/>
              <a:gd name="connsiteY265" fmla="*/ 2320726 h 6858000"/>
              <a:gd name="connsiteX266" fmla="*/ 5058619 w 12191999"/>
              <a:gd name="connsiteY266" fmla="*/ 2362263 h 6858000"/>
              <a:gd name="connsiteX267" fmla="*/ 5070837 w 12191999"/>
              <a:gd name="connsiteY267" fmla="*/ 2486872 h 6858000"/>
              <a:gd name="connsiteX268" fmla="*/ 4926682 w 12191999"/>
              <a:gd name="connsiteY268" fmla="*/ 2539402 h 6858000"/>
              <a:gd name="connsiteX269" fmla="*/ 4813067 w 12191999"/>
              <a:gd name="connsiteY269" fmla="*/ 2452666 h 6858000"/>
              <a:gd name="connsiteX270" fmla="*/ 4855825 w 12191999"/>
              <a:gd name="connsiteY270" fmla="*/ 2352491 h 6858000"/>
              <a:gd name="connsiteX271" fmla="*/ 4853383 w 12191999"/>
              <a:gd name="connsiteY271" fmla="*/ 2296294 h 6858000"/>
              <a:gd name="connsiteX272" fmla="*/ 4799629 w 12191999"/>
              <a:gd name="connsiteY272" fmla="*/ 2281634 h 6858000"/>
              <a:gd name="connsiteX273" fmla="*/ 4633486 w 12191999"/>
              <a:gd name="connsiteY273" fmla="*/ 2281634 h 6858000"/>
              <a:gd name="connsiteX274" fmla="*/ 4568545 w 12191999"/>
              <a:gd name="connsiteY274" fmla="*/ 2254834 h 6858000"/>
              <a:gd name="connsiteX275" fmla="*/ 4568533 w 12191999"/>
              <a:gd name="connsiteY275" fmla="*/ 2254378 h 6858000"/>
              <a:gd name="connsiteX276" fmla="*/ 4567644 w 12191999"/>
              <a:gd name="connsiteY276" fmla="*/ 2255861 h 6858000"/>
              <a:gd name="connsiteX277" fmla="*/ 4544720 w 12191999"/>
              <a:gd name="connsiteY277" fmla="*/ 2264404 h 6858000"/>
              <a:gd name="connsiteX278" fmla="*/ 4554906 w 12191999"/>
              <a:gd name="connsiteY278" fmla="*/ 2264379 h 6858000"/>
              <a:gd name="connsiteX279" fmla="*/ 4573231 w 12191999"/>
              <a:gd name="connsiteY279" fmla="*/ 2293699 h 6858000"/>
              <a:gd name="connsiteX280" fmla="*/ 4573231 w 12191999"/>
              <a:gd name="connsiteY280" fmla="*/ 2494050 h 6858000"/>
              <a:gd name="connsiteX281" fmla="*/ 4590334 w 12191999"/>
              <a:gd name="connsiteY281" fmla="*/ 2551467 h 6858000"/>
              <a:gd name="connsiteX282" fmla="*/ 4646530 w 12191999"/>
              <a:gd name="connsiteY282" fmla="*/ 2551467 h 6858000"/>
              <a:gd name="connsiteX283" fmla="*/ 4815115 w 12191999"/>
              <a:gd name="connsiteY283" fmla="*/ 2567347 h 6858000"/>
              <a:gd name="connsiteX284" fmla="*/ 4778466 w 12191999"/>
              <a:gd name="connsiteY284" fmla="*/ 2768920 h 6858000"/>
              <a:gd name="connsiteX285" fmla="*/ 4657524 w 12191999"/>
              <a:gd name="connsiteY285" fmla="*/ 2757926 h 6858000"/>
              <a:gd name="connsiteX286" fmla="*/ 4612323 w 12191999"/>
              <a:gd name="connsiteY286" fmla="*/ 2728606 h 6858000"/>
              <a:gd name="connsiteX287" fmla="*/ 4575675 w 12191999"/>
              <a:gd name="connsiteY287" fmla="*/ 2790910 h 6858000"/>
              <a:gd name="connsiteX288" fmla="*/ 4576894 w 12191999"/>
              <a:gd name="connsiteY288" fmla="*/ 2991261 h 6858000"/>
              <a:gd name="connsiteX289" fmla="*/ 4570481 w 12191999"/>
              <a:gd name="connsiteY289" fmla="*/ 3024856 h 6858000"/>
              <a:gd name="connsiteX290" fmla="*/ 4561944 w 12191999"/>
              <a:gd name="connsiteY290" fmla="*/ 3029609 h 6858000"/>
              <a:gd name="connsiteX291" fmla="*/ 4568608 w 12191999"/>
              <a:gd name="connsiteY291" fmla="*/ 3030206 h 6858000"/>
              <a:gd name="connsiteX292" fmla="*/ 4578857 w 12191999"/>
              <a:gd name="connsiteY292" fmla="*/ 3036715 h 6858000"/>
              <a:gd name="connsiteX293" fmla="*/ 4581540 w 12191999"/>
              <a:gd name="connsiteY293" fmla="*/ 3051267 h 6858000"/>
              <a:gd name="connsiteX294" fmla="*/ 4595169 w 12191999"/>
              <a:gd name="connsiteY294" fmla="*/ 3045892 h 6858000"/>
              <a:gd name="connsiteX295" fmla="*/ 4620385 w 12191999"/>
              <a:gd name="connsiteY295" fmla="*/ 3045454 h 6858000"/>
              <a:gd name="connsiteX296" fmla="*/ 4806076 w 12191999"/>
              <a:gd name="connsiteY296" fmla="*/ 3046674 h 6858000"/>
              <a:gd name="connsiteX297" fmla="*/ 4874487 w 12191999"/>
              <a:gd name="connsiteY297" fmla="*/ 3006359 h 6858000"/>
              <a:gd name="connsiteX298" fmla="*/ 4841504 w 12191999"/>
              <a:gd name="connsiteY298" fmla="*/ 2962382 h 6858000"/>
              <a:gd name="connsiteX299" fmla="*/ 4826843 w 12191999"/>
              <a:gd name="connsiteY299" fmla="*/ 2852433 h 6858000"/>
              <a:gd name="connsiteX300" fmla="*/ 5055294 w 12191999"/>
              <a:gd name="connsiteY300" fmla="*/ 2823113 h 6858000"/>
              <a:gd name="connsiteX301" fmla="*/ 5050406 w 12191999"/>
              <a:gd name="connsiteY301" fmla="*/ 2973375 h 6858000"/>
              <a:gd name="connsiteX302" fmla="*/ 5051628 w 12191999"/>
              <a:gd name="connsiteY302" fmla="*/ 3033236 h 6858000"/>
              <a:gd name="connsiteX303" fmla="*/ 5105382 w 12191999"/>
              <a:gd name="connsiteY303" fmla="*/ 3047896 h 6858000"/>
              <a:gd name="connsiteX304" fmla="*/ 5310620 w 12191999"/>
              <a:gd name="connsiteY304" fmla="*/ 3047896 h 6858000"/>
              <a:gd name="connsiteX305" fmla="*/ 5338715 w 12191999"/>
              <a:gd name="connsiteY305" fmla="*/ 3073551 h 6858000"/>
              <a:gd name="connsiteX306" fmla="*/ 5337493 w 12191999"/>
              <a:gd name="connsiteY306" fmla="*/ 3297112 h 6858000"/>
              <a:gd name="connsiteX307" fmla="*/ 5278853 w 12191999"/>
              <a:gd name="connsiteY307" fmla="*/ 3375299 h 6858000"/>
              <a:gd name="connsiteX308" fmla="*/ 5221435 w 12191999"/>
              <a:gd name="connsiteY308" fmla="*/ 3339871 h 6858000"/>
              <a:gd name="connsiteX309" fmla="*/ 5123706 w 12191999"/>
              <a:gd name="connsiteY309" fmla="*/ 3330097 h 6858000"/>
              <a:gd name="connsiteX310" fmla="*/ 5079725 w 12191999"/>
              <a:gd name="connsiteY310" fmla="*/ 3443711 h 6858000"/>
              <a:gd name="connsiteX311" fmla="*/ 5153026 w 12191999"/>
              <a:gd name="connsiteY311" fmla="*/ 3549995 h 6858000"/>
              <a:gd name="connsiteX312" fmla="*/ 5233655 w 12191999"/>
              <a:gd name="connsiteY312" fmla="*/ 3507238 h 6858000"/>
              <a:gd name="connsiteX313" fmla="*/ 5305732 w 12191999"/>
              <a:gd name="connsiteY313" fmla="*/ 3503573 h 6858000"/>
              <a:gd name="connsiteX314" fmla="*/ 5337493 w 12191999"/>
              <a:gd name="connsiteY314" fmla="*/ 3574428 h 6858000"/>
              <a:gd name="connsiteX315" fmla="*/ 5337493 w 12191999"/>
              <a:gd name="connsiteY315" fmla="*/ 3707588 h 6858000"/>
              <a:gd name="connsiteX316" fmla="*/ 5231209 w 12191999"/>
              <a:gd name="connsiteY316" fmla="*/ 3815093 h 6858000"/>
              <a:gd name="connsiteX317" fmla="*/ 5088277 w 12191999"/>
              <a:gd name="connsiteY317" fmla="*/ 3815093 h 6858000"/>
              <a:gd name="connsiteX318" fmla="*/ 5032081 w 12191999"/>
              <a:gd name="connsiteY318" fmla="*/ 3852965 h 6858000"/>
              <a:gd name="connsiteX319" fmla="*/ 5060180 w 12191999"/>
              <a:gd name="connsiteY319" fmla="*/ 3894500 h 6858000"/>
              <a:gd name="connsiteX320" fmla="*/ 5079725 w 12191999"/>
              <a:gd name="connsiteY320" fmla="*/ 4006891 h 6858000"/>
              <a:gd name="connsiteX321" fmla="*/ 4909915 w 12191999"/>
              <a:gd name="connsiteY321" fmla="*/ 4069196 h 6858000"/>
              <a:gd name="connsiteX322" fmla="*/ 4812184 w 12191999"/>
              <a:gd name="connsiteY322" fmla="*/ 3976351 h 6858000"/>
              <a:gd name="connsiteX323" fmla="*/ 4857383 w 12191999"/>
              <a:gd name="connsiteY323" fmla="*/ 3885949 h 6858000"/>
              <a:gd name="connsiteX324" fmla="*/ 4856163 w 12191999"/>
              <a:gd name="connsiteY324" fmla="*/ 3829753 h 6858000"/>
              <a:gd name="connsiteX325" fmla="*/ 4802409 w 12191999"/>
              <a:gd name="connsiteY325" fmla="*/ 3815093 h 6858000"/>
              <a:gd name="connsiteX326" fmla="*/ 4606946 w 12191999"/>
              <a:gd name="connsiteY326" fmla="*/ 3816315 h 6858000"/>
              <a:gd name="connsiteX327" fmla="*/ 4581843 w 12191999"/>
              <a:gd name="connsiteY327" fmla="*/ 3811533 h 6858000"/>
              <a:gd name="connsiteX328" fmla="*/ 4581798 w 12191999"/>
              <a:gd name="connsiteY328" fmla="*/ 3821095 h 6858000"/>
              <a:gd name="connsiteX329" fmla="*/ 4581798 w 12191999"/>
              <a:gd name="connsiteY329" fmla="*/ 4049544 h 6858000"/>
              <a:gd name="connsiteX330" fmla="*/ 4528044 w 12191999"/>
              <a:gd name="connsiteY330" fmla="*/ 4121621 h 6858000"/>
              <a:gd name="connsiteX331" fmla="*/ 4468182 w 12191999"/>
              <a:gd name="connsiteY331" fmla="*/ 4089859 h 6858000"/>
              <a:gd name="connsiteX332" fmla="*/ 4364344 w 12191999"/>
              <a:gd name="connsiteY332" fmla="*/ 4081306 h 6858000"/>
              <a:gd name="connsiteX333" fmla="*/ 4360678 w 12191999"/>
              <a:gd name="connsiteY333" fmla="*/ 4271879 h 6858000"/>
              <a:gd name="connsiteX334" fmla="*/ 4469406 w 12191999"/>
              <a:gd name="connsiteY334" fmla="*/ 4266992 h 6858000"/>
              <a:gd name="connsiteX335" fmla="*/ 4529266 w 12191999"/>
              <a:gd name="connsiteY335" fmla="*/ 4235230 h 6858000"/>
              <a:gd name="connsiteX336" fmla="*/ 4583017 w 12191999"/>
              <a:gd name="connsiteY336" fmla="*/ 4312195 h 6858000"/>
              <a:gd name="connsiteX337" fmla="*/ 4585462 w 12191999"/>
              <a:gd name="connsiteY337" fmla="*/ 4420922 h 6858000"/>
              <a:gd name="connsiteX338" fmla="*/ 4585462 w 12191999"/>
              <a:gd name="connsiteY338" fmla="*/ 4535755 h 6858000"/>
              <a:gd name="connsiteX339" fmla="*/ 4580270 w 12191999"/>
              <a:gd name="connsiteY339" fmla="*/ 4556981 h 6858000"/>
              <a:gd name="connsiteX340" fmla="*/ 4558623 w 12191999"/>
              <a:gd name="connsiteY340" fmla="*/ 4562623 h 6858000"/>
              <a:gd name="connsiteX341" fmla="*/ 4558623 w 12191999"/>
              <a:gd name="connsiteY341" fmla="*/ 4566440 h 6858000"/>
              <a:gd name="connsiteX342" fmla="*/ 4573343 w 12191999"/>
              <a:gd name="connsiteY342" fmla="*/ 4568280 h 6858000"/>
              <a:gd name="connsiteX343" fmla="*/ 4583997 w 12191999"/>
              <a:gd name="connsiteY343" fmla="*/ 4582238 h 6858000"/>
              <a:gd name="connsiteX344" fmla="*/ 4584236 w 12191999"/>
              <a:gd name="connsiteY344" fmla="*/ 4584622 h 6858000"/>
              <a:gd name="connsiteX345" fmla="*/ 4590467 w 12191999"/>
              <a:gd name="connsiteY345" fmla="*/ 4573843 h 6858000"/>
              <a:gd name="connsiteX346" fmla="*/ 4626810 w 12191999"/>
              <a:gd name="connsiteY346" fmla="*/ 4567125 h 6858000"/>
              <a:gd name="connsiteX347" fmla="*/ 4827160 w 12191999"/>
              <a:gd name="connsiteY347" fmla="*/ 4567125 h 6858000"/>
              <a:gd name="connsiteX348" fmla="*/ 4890685 w 12191999"/>
              <a:gd name="connsiteY348" fmla="*/ 4591556 h 6858000"/>
              <a:gd name="connsiteX349" fmla="*/ 4887021 w 12191999"/>
              <a:gd name="connsiteY349" fmla="*/ 4672186 h 6858000"/>
              <a:gd name="connsiteX350" fmla="*/ 4847929 w 12191999"/>
              <a:gd name="connsiteY350" fmla="*/ 4741820 h 6858000"/>
              <a:gd name="connsiteX351" fmla="*/ 4920006 w 12191999"/>
              <a:gd name="connsiteY351" fmla="*/ 4817562 h 6858000"/>
              <a:gd name="connsiteX352" fmla="*/ 5064161 w 12191999"/>
              <a:gd name="connsiteY352" fmla="*/ 4784578 h 6858000"/>
              <a:gd name="connsiteX353" fmla="*/ 5056831 w 12191999"/>
              <a:gd name="connsiteY353" fmla="*/ 4679516 h 6858000"/>
              <a:gd name="connsiteX354" fmla="*/ 5022625 w 12191999"/>
              <a:gd name="connsiteY354" fmla="*/ 4624541 h 6858000"/>
              <a:gd name="connsiteX355" fmla="*/ 5092258 w 12191999"/>
              <a:gd name="connsiteY355" fmla="*/ 4568344 h 6858000"/>
              <a:gd name="connsiteX356" fmla="*/ 5330479 w 12191999"/>
              <a:gd name="connsiteY356" fmla="*/ 4567125 h 6858000"/>
              <a:gd name="connsiteX357" fmla="*/ 5353691 w 12191999"/>
              <a:gd name="connsiteY357" fmla="*/ 4597667 h 6858000"/>
              <a:gd name="connsiteX358" fmla="*/ 5353691 w 12191999"/>
              <a:gd name="connsiteY358" fmla="*/ 4802902 h 6858000"/>
              <a:gd name="connsiteX359" fmla="*/ 5372016 w 12191999"/>
              <a:gd name="connsiteY359" fmla="*/ 4859100 h 6858000"/>
              <a:gd name="connsiteX360" fmla="*/ 5422104 w 12191999"/>
              <a:gd name="connsiteY360" fmla="*/ 4856655 h 6858000"/>
              <a:gd name="connsiteX361" fmla="*/ 5512505 w 12191999"/>
              <a:gd name="connsiteY361" fmla="*/ 4809011 h 6858000"/>
              <a:gd name="connsiteX362" fmla="*/ 5607793 w 12191999"/>
              <a:gd name="connsiteY362" fmla="*/ 4905522 h 6858000"/>
              <a:gd name="connsiteX363" fmla="*/ 5562593 w 12191999"/>
              <a:gd name="connsiteY363" fmla="*/ 5065559 h 6858000"/>
              <a:gd name="connsiteX364" fmla="*/ 5430656 w 12191999"/>
              <a:gd name="connsiteY364" fmla="*/ 5057007 h 6858000"/>
              <a:gd name="connsiteX365" fmla="*/ 5392783 w 12191999"/>
              <a:gd name="connsiteY365" fmla="*/ 5030132 h 6858000"/>
              <a:gd name="connsiteX366" fmla="*/ 5354913 w 12191999"/>
              <a:gd name="connsiteY366" fmla="*/ 5085106 h 6858000"/>
              <a:gd name="connsiteX367" fmla="*/ 5356135 w 12191999"/>
              <a:gd name="connsiteY367" fmla="*/ 5294008 h 6858000"/>
              <a:gd name="connsiteX368" fmla="*/ 5350738 w 12191999"/>
              <a:gd name="connsiteY368" fmla="*/ 5321930 h 6858000"/>
              <a:gd name="connsiteX369" fmla="*/ 5371287 w 12191999"/>
              <a:gd name="connsiteY369" fmla="*/ 5318874 h 6858000"/>
              <a:gd name="connsiteX370" fmla="*/ 5585072 w 12191999"/>
              <a:gd name="connsiteY370" fmla="*/ 5318874 h 6858000"/>
              <a:gd name="connsiteX371" fmla="*/ 5651043 w 12191999"/>
              <a:gd name="connsiteY371" fmla="*/ 5349416 h 6858000"/>
              <a:gd name="connsiteX372" fmla="*/ 5646155 w 12191999"/>
              <a:gd name="connsiteY372" fmla="*/ 5421493 h 6858000"/>
              <a:gd name="connsiteX373" fmla="*/ 5603399 w 12191999"/>
              <a:gd name="connsiteY373" fmla="*/ 5498458 h 6858000"/>
              <a:gd name="connsiteX374" fmla="*/ 5692578 w 12191999"/>
              <a:gd name="connsiteY374" fmla="*/ 5574200 h 6858000"/>
              <a:gd name="connsiteX375" fmla="*/ 5812299 w 12191999"/>
              <a:gd name="connsiteY375" fmla="*/ 5544881 h 6858000"/>
              <a:gd name="connsiteX376" fmla="*/ 5808637 w 12191999"/>
              <a:gd name="connsiteY376" fmla="*/ 5430047 h 6858000"/>
              <a:gd name="connsiteX377" fmla="*/ 5778092 w 12191999"/>
              <a:gd name="connsiteY377" fmla="*/ 5378737 h 6858000"/>
              <a:gd name="connsiteX378" fmla="*/ 5837954 w 12191999"/>
              <a:gd name="connsiteY378" fmla="*/ 5323761 h 6858000"/>
              <a:gd name="connsiteX379" fmla="*/ 6089611 w 12191999"/>
              <a:gd name="connsiteY379" fmla="*/ 5320096 h 6858000"/>
              <a:gd name="connsiteX380" fmla="*/ 6106714 w 12191999"/>
              <a:gd name="connsiteY380" fmla="*/ 5345752 h 6858000"/>
              <a:gd name="connsiteX381" fmla="*/ 6106714 w 12191999"/>
              <a:gd name="connsiteY381" fmla="*/ 5574200 h 6858000"/>
              <a:gd name="connsiteX382" fmla="*/ 6052963 w 12191999"/>
              <a:gd name="connsiteY382" fmla="*/ 5646278 h 6858000"/>
              <a:gd name="connsiteX383" fmla="*/ 5993101 w 12191999"/>
              <a:gd name="connsiteY383" fmla="*/ 5614516 h 6858000"/>
              <a:gd name="connsiteX384" fmla="*/ 5889264 w 12191999"/>
              <a:gd name="connsiteY384" fmla="*/ 5605962 h 6858000"/>
              <a:gd name="connsiteX385" fmla="*/ 5885598 w 12191999"/>
              <a:gd name="connsiteY385" fmla="*/ 5796541 h 6858000"/>
              <a:gd name="connsiteX386" fmla="*/ 5994323 w 12191999"/>
              <a:gd name="connsiteY386" fmla="*/ 5791654 h 6858000"/>
              <a:gd name="connsiteX387" fmla="*/ 6054184 w 12191999"/>
              <a:gd name="connsiteY387" fmla="*/ 5759891 h 6858000"/>
              <a:gd name="connsiteX388" fmla="*/ 6107935 w 12191999"/>
              <a:gd name="connsiteY388" fmla="*/ 5836855 h 6858000"/>
              <a:gd name="connsiteX389" fmla="*/ 6110381 w 12191999"/>
              <a:gd name="connsiteY389" fmla="*/ 5945582 h 6858000"/>
              <a:gd name="connsiteX390" fmla="*/ 6110381 w 12191999"/>
              <a:gd name="connsiteY390" fmla="*/ 6060417 h 6858000"/>
              <a:gd name="connsiteX391" fmla="*/ 6106055 w 12191999"/>
              <a:gd name="connsiteY391" fmla="*/ 6078094 h 6858000"/>
              <a:gd name="connsiteX392" fmla="*/ 6108059 w 12191999"/>
              <a:gd name="connsiteY392" fmla="*/ 6078201 h 6858000"/>
              <a:gd name="connsiteX393" fmla="*/ 6121268 w 12191999"/>
              <a:gd name="connsiteY393" fmla="*/ 6085837 h 6858000"/>
              <a:gd name="connsiteX394" fmla="*/ 6125405 w 12191999"/>
              <a:gd name="connsiteY394" fmla="*/ 6096044 h 6858000"/>
              <a:gd name="connsiteX395" fmla="*/ 6126156 w 12191999"/>
              <a:gd name="connsiteY395" fmla="*/ 6094323 h 6858000"/>
              <a:gd name="connsiteX396" fmla="*/ 6161736 w 12191999"/>
              <a:gd name="connsiteY396" fmla="*/ 6086077 h 6858000"/>
              <a:gd name="connsiteX397" fmla="*/ 6366973 w 12191999"/>
              <a:gd name="connsiteY397" fmla="*/ 6086077 h 6858000"/>
              <a:gd name="connsiteX398" fmla="*/ 6439050 w 12191999"/>
              <a:gd name="connsiteY398" fmla="*/ 6125170 h 6858000"/>
              <a:gd name="connsiteX399" fmla="*/ 6431720 w 12191999"/>
              <a:gd name="connsiteY399" fmla="*/ 6186252 h 6858000"/>
              <a:gd name="connsiteX400" fmla="*/ 6388963 w 12191999"/>
              <a:gd name="connsiteY400" fmla="*/ 6279097 h 6858000"/>
              <a:gd name="connsiteX401" fmla="*/ 6524567 w 12191999"/>
              <a:gd name="connsiteY401" fmla="*/ 6343846 h 6858000"/>
              <a:gd name="connsiteX402" fmla="*/ 6624741 w 12191999"/>
              <a:gd name="connsiteY402" fmla="*/ 6260772 h 6858000"/>
              <a:gd name="connsiteX403" fmla="*/ 6589314 w 12191999"/>
              <a:gd name="connsiteY403" fmla="*/ 6197247 h 6858000"/>
              <a:gd name="connsiteX404" fmla="*/ 6559994 w 12191999"/>
              <a:gd name="connsiteY404" fmla="*/ 6139830 h 6858000"/>
              <a:gd name="connsiteX405" fmla="*/ 6622298 w 12191999"/>
              <a:gd name="connsiteY405" fmla="*/ 6087298 h 6858000"/>
              <a:gd name="connsiteX406" fmla="*/ 6870294 w 12191999"/>
              <a:gd name="connsiteY406" fmla="*/ 6086077 h 6858000"/>
              <a:gd name="connsiteX407" fmla="*/ 6878000 w 12191999"/>
              <a:gd name="connsiteY407" fmla="*/ 6089431 h 6858000"/>
              <a:gd name="connsiteX408" fmla="*/ 6879007 w 12191999"/>
              <a:gd name="connsiteY408" fmla="*/ 6086924 h 6858000"/>
              <a:gd name="connsiteX409" fmla="*/ 6877557 w 12191999"/>
              <a:gd name="connsiteY409" fmla="*/ 6084401 h 6858000"/>
              <a:gd name="connsiteX410" fmla="*/ 6876069 w 12191999"/>
              <a:gd name="connsiteY410" fmla="*/ 6064396 h 6858000"/>
              <a:gd name="connsiteX411" fmla="*/ 6877291 w 12191999"/>
              <a:gd name="connsiteY411" fmla="*/ 5860381 h 6858000"/>
              <a:gd name="connsiteX412" fmla="*/ 6835754 w 12191999"/>
              <a:gd name="connsiteY412" fmla="*/ 5796854 h 6858000"/>
              <a:gd name="connsiteX413" fmla="*/ 6794219 w 12191999"/>
              <a:gd name="connsiteY413" fmla="*/ 5827396 h 6858000"/>
              <a:gd name="connsiteX414" fmla="*/ 6672053 w 12191999"/>
              <a:gd name="connsiteY414" fmla="*/ 5838391 h 6858000"/>
              <a:gd name="connsiteX415" fmla="*/ 6618301 w 12191999"/>
              <a:gd name="connsiteY415" fmla="*/ 5690570 h 6858000"/>
              <a:gd name="connsiteX416" fmla="*/ 6707480 w 12191999"/>
              <a:gd name="connsiteY416" fmla="*/ 5578181 h 6858000"/>
              <a:gd name="connsiteX417" fmla="*/ 6806435 w 12191999"/>
              <a:gd name="connsiteY417" fmla="*/ 5623380 h 6858000"/>
              <a:gd name="connsiteX418" fmla="*/ 6856522 w 12191999"/>
              <a:gd name="connsiteY418" fmla="*/ 5623380 h 6858000"/>
              <a:gd name="connsiteX419" fmla="*/ 6876069 w 12191999"/>
              <a:gd name="connsiteY419" fmla="*/ 5567184 h 6858000"/>
              <a:gd name="connsiteX420" fmla="*/ 6874847 w 12191999"/>
              <a:gd name="connsiteY420" fmla="*/ 5371720 h 6858000"/>
              <a:gd name="connsiteX421" fmla="*/ 6912719 w 12191999"/>
              <a:gd name="connsiteY421" fmla="*/ 5332627 h 6858000"/>
              <a:gd name="connsiteX422" fmla="*/ 7113069 w 12191999"/>
              <a:gd name="connsiteY422" fmla="*/ 5333849 h 6858000"/>
              <a:gd name="connsiteX423" fmla="*/ 7179039 w 12191999"/>
              <a:gd name="connsiteY423" fmla="*/ 5295978 h 6858000"/>
              <a:gd name="connsiteX424" fmla="*/ 7147275 w 12191999"/>
              <a:gd name="connsiteY424" fmla="*/ 5250776 h 6858000"/>
              <a:gd name="connsiteX425" fmla="*/ 7136280 w 12191999"/>
              <a:gd name="connsiteY425" fmla="*/ 5133498 h 6858000"/>
              <a:gd name="connsiteX426" fmla="*/ 7292651 w 12191999"/>
              <a:gd name="connsiteY426" fmla="*/ 5078525 h 6858000"/>
              <a:gd name="connsiteX427" fmla="*/ 7400157 w 12191999"/>
              <a:gd name="connsiteY427" fmla="*/ 5167705 h 6858000"/>
              <a:gd name="connsiteX428" fmla="*/ 7354955 w 12191999"/>
              <a:gd name="connsiteY428" fmla="*/ 5264216 h 6858000"/>
              <a:gd name="connsiteX429" fmla="*/ 7357398 w 12191999"/>
              <a:gd name="connsiteY429" fmla="*/ 5319191 h 6858000"/>
              <a:gd name="connsiteX430" fmla="*/ 7409930 w 12191999"/>
              <a:gd name="connsiteY430" fmla="*/ 5335071 h 6858000"/>
              <a:gd name="connsiteX431" fmla="*/ 7615166 w 12191999"/>
              <a:gd name="connsiteY431" fmla="*/ 5333849 h 6858000"/>
              <a:gd name="connsiteX432" fmla="*/ 7644486 w 12191999"/>
              <a:gd name="connsiteY432" fmla="*/ 5363168 h 6858000"/>
              <a:gd name="connsiteX433" fmla="*/ 7644486 w 12191999"/>
              <a:gd name="connsiteY433" fmla="*/ 5581843 h 6858000"/>
              <a:gd name="connsiteX434" fmla="*/ 7588291 w 12191999"/>
              <a:gd name="connsiteY434" fmla="*/ 5661252 h 6858000"/>
              <a:gd name="connsiteX435" fmla="*/ 7529651 w 12191999"/>
              <a:gd name="connsiteY435" fmla="*/ 5627045 h 6858000"/>
              <a:gd name="connsiteX436" fmla="*/ 7428255 w 12191999"/>
              <a:gd name="connsiteY436" fmla="*/ 5619716 h 6858000"/>
              <a:gd name="connsiteX437" fmla="*/ 7390383 w 12191999"/>
              <a:gd name="connsiteY437" fmla="*/ 5754097 h 6858000"/>
              <a:gd name="connsiteX438" fmla="*/ 7466127 w 12191999"/>
              <a:gd name="connsiteY438" fmla="*/ 5837169 h 6858000"/>
              <a:gd name="connsiteX439" fmla="*/ 7538204 w 12191999"/>
              <a:gd name="connsiteY439" fmla="*/ 5795633 h 6858000"/>
              <a:gd name="connsiteX440" fmla="*/ 7617611 w 12191999"/>
              <a:gd name="connsiteY440" fmla="*/ 5791968 h 6858000"/>
              <a:gd name="connsiteX441" fmla="*/ 7644486 w 12191999"/>
              <a:gd name="connsiteY441" fmla="*/ 5855493 h 6858000"/>
              <a:gd name="connsiteX442" fmla="*/ 7644486 w 12191999"/>
              <a:gd name="connsiteY442" fmla="*/ 5960555 h 6858000"/>
              <a:gd name="connsiteX443" fmla="*/ 7645708 w 12191999"/>
              <a:gd name="connsiteY443" fmla="*/ 6072947 h 6858000"/>
              <a:gd name="connsiteX444" fmla="*/ 7643676 w 12191999"/>
              <a:gd name="connsiteY444" fmla="*/ 6091527 h 6858000"/>
              <a:gd name="connsiteX445" fmla="*/ 7645318 w 12191999"/>
              <a:gd name="connsiteY445" fmla="*/ 6082343 h 6858000"/>
              <a:gd name="connsiteX446" fmla="*/ 7677538 w 12191999"/>
              <a:gd name="connsiteY446" fmla="*/ 6073639 h 6858000"/>
              <a:gd name="connsiteX447" fmla="*/ 7886441 w 12191999"/>
              <a:gd name="connsiteY447" fmla="*/ 6074861 h 6858000"/>
              <a:gd name="connsiteX448" fmla="*/ 7956073 w 12191999"/>
              <a:gd name="connsiteY448" fmla="*/ 6107844 h 6858000"/>
              <a:gd name="connsiteX449" fmla="*/ 7949965 w 12191999"/>
              <a:gd name="connsiteY449" fmla="*/ 6176258 h 6858000"/>
              <a:gd name="connsiteX450" fmla="*/ 7905986 w 12191999"/>
              <a:gd name="connsiteY450" fmla="*/ 6256885 h 6858000"/>
              <a:gd name="connsiteX451" fmla="*/ 8002497 w 12191999"/>
              <a:gd name="connsiteY451" fmla="*/ 6331407 h 6858000"/>
              <a:gd name="connsiteX452" fmla="*/ 8110001 w 12191999"/>
              <a:gd name="connsiteY452" fmla="*/ 6304530 h 6858000"/>
              <a:gd name="connsiteX453" fmla="*/ 8110001 w 12191999"/>
              <a:gd name="connsiteY453" fmla="*/ 6183586 h 6858000"/>
              <a:gd name="connsiteX454" fmla="*/ 8079461 w 12191999"/>
              <a:gd name="connsiteY454" fmla="*/ 6135943 h 6858000"/>
              <a:gd name="connsiteX455" fmla="*/ 8141764 w 12191999"/>
              <a:gd name="connsiteY455" fmla="*/ 6077304 h 6858000"/>
              <a:gd name="connsiteX456" fmla="*/ 8393425 w 12191999"/>
              <a:gd name="connsiteY456" fmla="*/ 6074861 h 6858000"/>
              <a:gd name="connsiteX457" fmla="*/ 8406729 w 12191999"/>
              <a:gd name="connsiteY457" fmla="*/ 6078106 h 6858000"/>
              <a:gd name="connsiteX458" fmla="*/ 8410249 w 12191999"/>
              <a:gd name="connsiteY458" fmla="*/ 6084768 h 6858000"/>
              <a:gd name="connsiteX459" fmla="*/ 8414744 w 12191999"/>
              <a:gd name="connsiteY459" fmla="*/ 6080797 h 6858000"/>
              <a:gd name="connsiteX460" fmla="*/ 8436581 w 12191999"/>
              <a:gd name="connsiteY460" fmla="*/ 6079422 h 6858000"/>
              <a:gd name="connsiteX461" fmla="*/ 8641819 w 12191999"/>
              <a:gd name="connsiteY461" fmla="*/ 6079422 h 6858000"/>
              <a:gd name="connsiteX462" fmla="*/ 8690684 w 12191999"/>
              <a:gd name="connsiteY462" fmla="*/ 6065984 h 6858000"/>
              <a:gd name="connsiteX463" fmla="*/ 8693127 w 12191999"/>
              <a:gd name="connsiteY463" fmla="*/ 6003680 h 6858000"/>
              <a:gd name="connsiteX464" fmla="*/ 8688242 w 12191999"/>
              <a:gd name="connsiteY464" fmla="*/ 5855861 h 6858000"/>
              <a:gd name="connsiteX465" fmla="*/ 8909360 w 12191999"/>
              <a:gd name="connsiteY465" fmla="*/ 5870521 h 6858000"/>
              <a:gd name="connsiteX466" fmla="*/ 8900808 w 12191999"/>
              <a:gd name="connsiteY466" fmla="*/ 5998795 h 6858000"/>
              <a:gd name="connsiteX467" fmla="*/ 8873933 w 12191999"/>
              <a:gd name="connsiteY467" fmla="*/ 6041552 h 6858000"/>
              <a:gd name="connsiteX468" fmla="*/ 8931350 w 12191999"/>
              <a:gd name="connsiteY468" fmla="*/ 6078202 h 6858000"/>
              <a:gd name="connsiteX469" fmla="*/ 9136587 w 12191999"/>
              <a:gd name="connsiteY469" fmla="*/ 6076979 h 6858000"/>
              <a:gd name="connsiteX470" fmla="*/ 9159416 w 12191999"/>
              <a:gd name="connsiteY470" fmla="*/ 6078201 h 6858000"/>
              <a:gd name="connsiteX471" fmla="*/ 9160395 w 12191999"/>
              <a:gd name="connsiteY471" fmla="*/ 6078767 h 6858000"/>
              <a:gd name="connsiteX472" fmla="*/ 9159383 w 12191999"/>
              <a:gd name="connsiteY472" fmla="*/ 6065178 h 6858000"/>
              <a:gd name="connsiteX473" fmla="*/ 9160606 w 12191999"/>
              <a:gd name="connsiteY473" fmla="*/ 5856275 h 6858000"/>
              <a:gd name="connsiteX474" fmla="*/ 9125178 w 12191999"/>
              <a:gd name="connsiteY474" fmla="*/ 5798859 h 6858000"/>
              <a:gd name="connsiteX475" fmla="*/ 9083641 w 12191999"/>
              <a:gd name="connsiteY475" fmla="*/ 5825735 h 6858000"/>
              <a:gd name="connsiteX476" fmla="*/ 8954147 w 12191999"/>
              <a:gd name="connsiteY476" fmla="*/ 5835507 h 6858000"/>
              <a:gd name="connsiteX477" fmla="*/ 8901615 w 12191999"/>
              <a:gd name="connsiteY477" fmla="*/ 5764652 h 6858000"/>
              <a:gd name="connsiteX478" fmla="*/ 8902838 w 12191999"/>
              <a:gd name="connsiteY478" fmla="*/ 5668142 h 6858000"/>
              <a:gd name="connsiteX479" fmla="*/ 9099523 w 12191999"/>
              <a:gd name="connsiteY479" fmla="*/ 5630271 h 6858000"/>
              <a:gd name="connsiteX480" fmla="*/ 9132508 w 12191999"/>
              <a:gd name="connsiteY480" fmla="*/ 5633936 h 6858000"/>
              <a:gd name="connsiteX481" fmla="*/ 9161828 w 12191999"/>
              <a:gd name="connsiteY481" fmla="*/ 5572855 h 6858000"/>
              <a:gd name="connsiteX482" fmla="*/ 9160606 w 12191999"/>
              <a:gd name="connsiteY482" fmla="*/ 5382276 h 6858000"/>
              <a:gd name="connsiteX483" fmla="*/ 9213137 w 12191999"/>
              <a:gd name="connsiteY483" fmla="*/ 5332188 h 6858000"/>
              <a:gd name="connsiteX484" fmla="*/ 9398827 w 12191999"/>
              <a:gd name="connsiteY484" fmla="*/ 5333410 h 6858000"/>
              <a:gd name="connsiteX485" fmla="*/ 9467240 w 12191999"/>
              <a:gd name="connsiteY485" fmla="*/ 5293094 h 6858000"/>
              <a:gd name="connsiteX486" fmla="*/ 9434256 w 12191999"/>
              <a:gd name="connsiteY486" fmla="*/ 5249118 h 6858000"/>
              <a:gd name="connsiteX487" fmla="*/ 9419596 w 12191999"/>
              <a:gd name="connsiteY487" fmla="*/ 5139169 h 6858000"/>
              <a:gd name="connsiteX488" fmla="*/ 9648044 w 12191999"/>
              <a:gd name="connsiteY488" fmla="*/ 5109848 h 6858000"/>
              <a:gd name="connsiteX489" fmla="*/ 9643157 w 12191999"/>
              <a:gd name="connsiteY489" fmla="*/ 5260110 h 6858000"/>
              <a:gd name="connsiteX490" fmla="*/ 9644379 w 12191999"/>
              <a:gd name="connsiteY490" fmla="*/ 5319971 h 6858000"/>
              <a:gd name="connsiteX491" fmla="*/ 9698131 w 12191999"/>
              <a:gd name="connsiteY491" fmla="*/ 5334631 h 6858000"/>
              <a:gd name="connsiteX492" fmla="*/ 9903370 w 12191999"/>
              <a:gd name="connsiteY492" fmla="*/ 5334631 h 6858000"/>
              <a:gd name="connsiteX493" fmla="*/ 9929654 w 12191999"/>
              <a:gd name="connsiteY493" fmla="*/ 5346485 h 6858000"/>
              <a:gd name="connsiteX494" fmla="*/ 9930724 w 12191999"/>
              <a:gd name="connsiteY494" fmla="*/ 5354628 h 6858000"/>
              <a:gd name="connsiteX495" fmla="*/ 9932264 w 12191999"/>
              <a:gd name="connsiteY495" fmla="*/ 5354628 h 6858000"/>
              <a:gd name="connsiteX496" fmla="*/ 9932800 w 12191999"/>
              <a:gd name="connsiteY496" fmla="*/ 5349644 h 6858000"/>
              <a:gd name="connsiteX497" fmla="*/ 9947918 w 12191999"/>
              <a:gd name="connsiteY497" fmla="*/ 5337597 h 6858000"/>
              <a:gd name="connsiteX498" fmla="*/ 9951318 w 12191999"/>
              <a:gd name="connsiteY498" fmla="*/ 5337347 h 6858000"/>
              <a:gd name="connsiteX499" fmla="*/ 9952291 w 12191999"/>
              <a:gd name="connsiteY499" fmla="*/ 5335521 h 6858000"/>
              <a:gd name="connsiteX500" fmla="*/ 9934946 w 12191999"/>
              <a:gd name="connsiteY500" fmla="*/ 5330599 h 6858000"/>
              <a:gd name="connsiteX501" fmla="*/ 9930821 w 12191999"/>
              <a:gd name="connsiteY501" fmla="*/ 5309831 h 6858000"/>
              <a:gd name="connsiteX502" fmla="*/ 9930821 w 12191999"/>
              <a:gd name="connsiteY502" fmla="*/ 5086269 h 6858000"/>
              <a:gd name="connsiteX503" fmla="*/ 9976023 w 12191999"/>
              <a:gd name="connsiteY503" fmla="*/ 5012969 h 6858000"/>
              <a:gd name="connsiteX504" fmla="*/ 10026111 w 12191999"/>
              <a:gd name="connsiteY504" fmla="*/ 5020300 h 6858000"/>
              <a:gd name="connsiteX505" fmla="*/ 10151942 w 12191999"/>
              <a:gd name="connsiteY505" fmla="*/ 5045954 h 6858000"/>
              <a:gd name="connsiteX506" fmla="*/ 10160492 w 12191999"/>
              <a:gd name="connsiteY506" fmla="*/ 4868816 h 6858000"/>
              <a:gd name="connsiteX507" fmla="*/ 10039550 w 12191999"/>
              <a:gd name="connsiteY507" fmla="*/ 4867593 h 6858000"/>
              <a:gd name="connsiteX508" fmla="*/ 9987018 w 12191999"/>
              <a:gd name="connsiteY508" fmla="*/ 4895690 h 6858000"/>
              <a:gd name="connsiteX509" fmla="*/ 9932044 w 12191999"/>
              <a:gd name="connsiteY509" fmla="*/ 4830943 h 6858000"/>
              <a:gd name="connsiteX510" fmla="*/ 9929601 w 12191999"/>
              <a:gd name="connsiteY510" fmla="*/ 4587835 h 6858000"/>
              <a:gd name="connsiteX511" fmla="*/ 9957699 w 12191999"/>
              <a:gd name="connsiteY511" fmla="*/ 4568288 h 6858000"/>
              <a:gd name="connsiteX512" fmla="*/ 10158050 w 12191999"/>
              <a:gd name="connsiteY512" fmla="*/ 4568288 h 6858000"/>
              <a:gd name="connsiteX513" fmla="*/ 10204472 w 12191999"/>
              <a:gd name="connsiteY513" fmla="*/ 4560959 h 6858000"/>
              <a:gd name="connsiteX514" fmla="*/ 10213024 w 12191999"/>
              <a:gd name="connsiteY514" fmla="*/ 4493768 h 6858000"/>
              <a:gd name="connsiteX515" fmla="*/ 10209359 w 12191999"/>
              <a:gd name="connsiteY515" fmla="*/ 4345948 h 6858000"/>
              <a:gd name="connsiteX516" fmla="*/ 10325263 w 12191999"/>
              <a:gd name="connsiteY516" fmla="*/ 4307925 h 6858000"/>
              <a:gd name="connsiteX517" fmla="*/ 10432920 w 12191999"/>
              <a:gd name="connsiteY517" fmla="*/ 4364272 h 6858000"/>
              <a:gd name="connsiteX518" fmla="*/ 10423148 w 12191999"/>
              <a:gd name="connsiteY518" fmla="*/ 4486437 h 6858000"/>
              <a:gd name="connsiteX519" fmla="*/ 10393828 w 12191999"/>
              <a:gd name="connsiteY519" fmla="*/ 4531639 h 6858000"/>
              <a:gd name="connsiteX520" fmla="*/ 10459798 w 12191999"/>
              <a:gd name="connsiteY520" fmla="*/ 4569509 h 6858000"/>
              <a:gd name="connsiteX521" fmla="*/ 10660149 w 12191999"/>
              <a:gd name="connsiteY521" fmla="*/ 4568288 h 6858000"/>
              <a:gd name="connsiteX522" fmla="*/ 10700463 w 12191999"/>
              <a:gd name="connsiteY522" fmla="*/ 4607381 h 6858000"/>
              <a:gd name="connsiteX523" fmla="*/ 10699241 w 12191999"/>
              <a:gd name="connsiteY523" fmla="*/ 4802845 h 6858000"/>
              <a:gd name="connsiteX524" fmla="*/ 10672366 w 12191999"/>
              <a:gd name="connsiteY524" fmla="*/ 4876145 h 6858000"/>
              <a:gd name="connsiteX525" fmla="*/ 10591736 w 12191999"/>
              <a:gd name="connsiteY525" fmla="*/ 4872480 h 6858000"/>
              <a:gd name="connsiteX526" fmla="*/ 10518437 w 12191999"/>
              <a:gd name="connsiteY526" fmla="*/ 4833387 h 6858000"/>
              <a:gd name="connsiteX527" fmla="*/ 10443915 w 12191999"/>
              <a:gd name="connsiteY527" fmla="*/ 4917681 h 6858000"/>
              <a:gd name="connsiteX528" fmla="*/ 10486675 w 12191999"/>
              <a:gd name="connsiteY528" fmla="*/ 5054507 h 6858000"/>
              <a:gd name="connsiteX529" fmla="*/ 10580742 w 12191999"/>
              <a:gd name="connsiteY529" fmla="*/ 5045954 h 6858000"/>
              <a:gd name="connsiteX530" fmla="*/ 10643046 w 12191999"/>
              <a:gd name="connsiteY530" fmla="*/ 5009304 h 6858000"/>
              <a:gd name="connsiteX531" fmla="*/ 10699241 w 12191999"/>
              <a:gd name="connsiteY531" fmla="*/ 5089935 h 6858000"/>
              <a:gd name="connsiteX532" fmla="*/ 10700463 w 12191999"/>
              <a:gd name="connsiteY532" fmla="*/ 5308610 h 6858000"/>
              <a:gd name="connsiteX533" fmla="*/ 10695953 w 12191999"/>
              <a:gd name="connsiteY533" fmla="*/ 5325919 h 6858000"/>
              <a:gd name="connsiteX534" fmla="*/ 10695953 w 12191999"/>
              <a:gd name="connsiteY534" fmla="*/ 5342506 h 6858000"/>
              <a:gd name="connsiteX535" fmla="*/ 10697005 w 12191999"/>
              <a:gd name="connsiteY535" fmla="*/ 5340688 h 6858000"/>
              <a:gd name="connsiteX536" fmla="*/ 10739305 w 12191999"/>
              <a:gd name="connsiteY536" fmla="*/ 5333510 h 6858000"/>
              <a:gd name="connsiteX537" fmla="*/ 10924995 w 12191999"/>
              <a:gd name="connsiteY537" fmla="*/ 5334732 h 6858000"/>
              <a:gd name="connsiteX538" fmla="*/ 10993408 w 12191999"/>
              <a:gd name="connsiteY538" fmla="*/ 5294417 h 6858000"/>
              <a:gd name="connsiteX539" fmla="*/ 10960424 w 12191999"/>
              <a:gd name="connsiteY539" fmla="*/ 5250439 h 6858000"/>
              <a:gd name="connsiteX540" fmla="*/ 10945764 w 12191999"/>
              <a:gd name="connsiteY540" fmla="*/ 5140490 h 6858000"/>
              <a:gd name="connsiteX541" fmla="*/ 11174212 w 12191999"/>
              <a:gd name="connsiteY541" fmla="*/ 5111172 h 6858000"/>
              <a:gd name="connsiteX542" fmla="*/ 11169325 w 12191999"/>
              <a:gd name="connsiteY542" fmla="*/ 5261432 h 6858000"/>
              <a:gd name="connsiteX543" fmla="*/ 11170547 w 12191999"/>
              <a:gd name="connsiteY543" fmla="*/ 5321293 h 6858000"/>
              <a:gd name="connsiteX544" fmla="*/ 11224299 w 12191999"/>
              <a:gd name="connsiteY544" fmla="*/ 5335954 h 6858000"/>
              <a:gd name="connsiteX545" fmla="*/ 11429538 w 12191999"/>
              <a:gd name="connsiteY545" fmla="*/ 5335954 h 6858000"/>
              <a:gd name="connsiteX546" fmla="*/ 11457635 w 12191999"/>
              <a:gd name="connsiteY546" fmla="*/ 5361608 h 6858000"/>
              <a:gd name="connsiteX547" fmla="*/ 11456413 w 12191999"/>
              <a:gd name="connsiteY547" fmla="*/ 5585169 h 6858000"/>
              <a:gd name="connsiteX548" fmla="*/ 11397773 w 12191999"/>
              <a:gd name="connsiteY548" fmla="*/ 5663355 h 6858000"/>
              <a:gd name="connsiteX549" fmla="*/ 11340356 w 12191999"/>
              <a:gd name="connsiteY549" fmla="*/ 5627928 h 6858000"/>
              <a:gd name="connsiteX550" fmla="*/ 11242624 w 12191999"/>
              <a:gd name="connsiteY550" fmla="*/ 5618154 h 6858000"/>
              <a:gd name="connsiteX551" fmla="*/ 11198645 w 12191999"/>
              <a:gd name="connsiteY551" fmla="*/ 5731767 h 6858000"/>
              <a:gd name="connsiteX552" fmla="*/ 11271944 w 12191999"/>
              <a:gd name="connsiteY552" fmla="*/ 5838051 h 6858000"/>
              <a:gd name="connsiteX553" fmla="*/ 11352573 w 12191999"/>
              <a:gd name="connsiteY553" fmla="*/ 5795294 h 6858000"/>
              <a:gd name="connsiteX554" fmla="*/ 11424650 w 12191999"/>
              <a:gd name="connsiteY554" fmla="*/ 5791629 h 6858000"/>
              <a:gd name="connsiteX555" fmla="*/ 11456413 w 12191999"/>
              <a:gd name="connsiteY555" fmla="*/ 5862484 h 6858000"/>
              <a:gd name="connsiteX556" fmla="*/ 11456413 w 12191999"/>
              <a:gd name="connsiteY556" fmla="*/ 5995645 h 6858000"/>
              <a:gd name="connsiteX557" fmla="*/ 11450808 w 12191999"/>
              <a:gd name="connsiteY557" fmla="*/ 6076903 h 6858000"/>
              <a:gd name="connsiteX558" fmla="*/ 11443434 w 12191999"/>
              <a:gd name="connsiteY558" fmla="*/ 6089200 h 6858000"/>
              <a:gd name="connsiteX559" fmla="*/ 11447629 w 12191999"/>
              <a:gd name="connsiteY559" fmla="*/ 6089179 h 6858000"/>
              <a:gd name="connsiteX560" fmla="*/ 11460380 w 12191999"/>
              <a:gd name="connsiteY560" fmla="*/ 6094729 h 6858000"/>
              <a:gd name="connsiteX561" fmla="*/ 11461414 w 12191999"/>
              <a:gd name="connsiteY561" fmla="*/ 6089396 h 6858000"/>
              <a:gd name="connsiteX562" fmla="*/ 11491039 w 12191999"/>
              <a:gd name="connsiteY562" fmla="*/ 6081456 h 6858000"/>
              <a:gd name="connsiteX563" fmla="*/ 11686503 w 12191999"/>
              <a:gd name="connsiteY563" fmla="*/ 6082676 h 6858000"/>
              <a:gd name="connsiteX564" fmla="*/ 11732927 w 12191999"/>
              <a:gd name="connsiteY564" fmla="*/ 6074124 h 6858000"/>
              <a:gd name="connsiteX565" fmla="*/ 11741477 w 12191999"/>
              <a:gd name="connsiteY565" fmla="*/ 6008156 h 6858000"/>
              <a:gd name="connsiteX566" fmla="*/ 11698720 w 12191999"/>
              <a:gd name="connsiteY566" fmla="*/ 5923862 h 6858000"/>
              <a:gd name="connsiteX567" fmla="*/ 11785457 w 12191999"/>
              <a:gd name="connsiteY567" fmla="*/ 5829795 h 6858000"/>
              <a:gd name="connsiteX568" fmla="*/ 11834763 w 12191999"/>
              <a:gd name="connsiteY568" fmla="*/ 5820594 h 6858000"/>
              <a:gd name="connsiteX569" fmla="*/ 11961375 w 12191999"/>
              <a:gd name="connsiteY569" fmla="*/ 5878660 h 6858000"/>
              <a:gd name="connsiteX570" fmla="*/ 11949158 w 12191999"/>
              <a:gd name="connsiteY570" fmla="*/ 6003269 h 6858000"/>
              <a:gd name="connsiteX571" fmla="*/ 11922283 w 12191999"/>
              <a:gd name="connsiteY571" fmla="*/ 6046026 h 6858000"/>
              <a:gd name="connsiteX572" fmla="*/ 11983365 w 12191999"/>
              <a:gd name="connsiteY572" fmla="*/ 6082676 h 6858000"/>
              <a:gd name="connsiteX573" fmla="*/ 12183716 w 12191999"/>
              <a:gd name="connsiteY573" fmla="*/ 6081456 h 6858000"/>
              <a:gd name="connsiteX574" fmla="*/ 12191999 w 12191999"/>
              <a:gd name="connsiteY574" fmla="*/ 6083007 h 6858000"/>
              <a:gd name="connsiteX575" fmla="*/ 12191999 w 12191999"/>
              <a:gd name="connsiteY575" fmla="*/ 6858000 h 6858000"/>
              <a:gd name="connsiteX576" fmla="*/ 0 w 12191999"/>
              <a:gd name="connsiteY5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Lst>
            <a:rect l="l" t="t" r="r" b="b"/>
            <a:pathLst>
              <a:path w="12191999" h="6858000">
                <a:moveTo>
                  <a:pt x="10699779" y="6099402"/>
                </a:moveTo>
                <a:lnTo>
                  <a:pt x="10700365" y="6104567"/>
                </a:lnTo>
                <a:lnTo>
                  <a:pt x="10702406" y="6099903"/>
                </a:lnTo>
                <a:close/>
                <a:moveTo>
                  <a:pt x="9177921" y="6098901"/>
                </a:moveTo>
                <a:lnTo>
                  <a:pt x="9178505" y="6100344"/>
                </a:lnTo>
                <a:lnTo>
                  <a:pt x="9178605" y="6102927"/>
                </a:lnTo>
                <a:lnTo>
                  <a:pt x="9183635" y="6102927"/>
                </a:lnTo>
                <a:lnTo>
                  <a:pt x="9185303" y="6100308"/>
                </a:lnTo>
                <a:close/>
                <a:moveTo>
                  <a:pt x="5342410" y="5330181"/>
                </a:moveTo>
                <a:lnTo>
                  <a:pt x="5338269" y="5332661"/>
                </a:lnTo>
                <a:lnTo>
                  <a:pt x="5322064" y="5334006"/>
                </a:lnTo>
                <a:lnTo>
                  <a:pt x="5335111" y="5336578"/>
                </a:lnTo>
                <a:lnTo>
                  <a:pt x="5337848" y="5340523"/>
                </a:lnTo>
                <a:lnTo>
                  <a:pt x="5338130" y="5335883"/>
                </a:lnTo>
                <a:close/>
                <a:moveTo>
                  <a:pt x="11820900" y="4311166"/>
                </a:moveTo>
                <a:cubicBezTo>
                  <a:pt x="11873927" y="4308131"/>
                  <a:pt x="11925923" y="4331037"/>
                  <a:pt x="11955244" y="4373182"/>
                </a:cubicBezTo>
                <a:cubicBezTo>
                  <a:pt x="11985785" y="4418384"/>
                  <a:pt x="11980898" y="4451368"/>
                  <a:pt x="11941805" y="4490463"/>
                </a:cubicBezTo>
                <a:cubicBezTo>
                  <a:pt x="11929590" y="4502678"/>
                  <a:pt x="11901490" y="4507563"/>
                  <a:pt x="11911265" y="4531997"/>
                </a:cubicBezTo>
                <a:cubicBezTo>
                  <a:pt x="11922260" y="4557650"/>
                  <a:pt x="11944250" y="4573534"/>
                  <a:pt x="11974790" y="4572310"/>
                </a:cubicBezTo>
                <a:cubicBezTo>
                  <a:pt x="12041982" y="4571090"/>
                  <a:pt x="12107951" y="4573534"/>
                  <a:pt x="12175141" y="4571090"/>
                </a:cubicBezTo>
                <a:lnTo>
                  <a:pt x="12191999" y="4574294"/>
                </a:lnTo>
                <a:lnTo>
                  <a:pt x="12191999" y="5337457"/>
                </a:lnTo>
                <a:lnTo>
                  <a:pt x="12177584" y="5340730"/>
                </a:lnTo>
                <a:cubicBezTo>
                  <a:pt x="12112836" y="5338287"/>
                  <a:pt x="12048089" y="5339507"/>
                  <a:pt x="11982120" y="5339507"/>
                </a:cubicBezTo>
                <a:cubicBezTo>
                  <a:pt x="11962574" y="5339507"/>
                  <a:pt x="11944250" y="5340730"/>
                  <a:pt x="11928367" y="5354166"/>
                </a:cubicBezTo>
                <a:cubicBezTo>
                  <a:pt x="11908820" y="5372491"/>
                  <a:pt x="11896605" y="5388373"/>
                  <a:pt x="11927145" y="5409142"/>
                </a:cubicBezTo>
                <a:cubicBezTo>
                  <a:pt x="11960130" y="5432354"/>
                  <a:pt x="11987007" y="5462893"/>
                  <a:pt x="11971125" y="5504430"/>
                </a:cubicBezTo>
                <a:cubicBezTo>
                  <a:pt x="11955244" y="5548410"/>
                  <a:pt x="11924702" y="5582614"/>
                  <a:pt x="11873393" y="5592389"/>
                </a:cubicBezTo>
                <a:cubicBezTo>
                  <a:pt x="11795208" y="5608269"/>
                  <a:pt x="11739011" y="5587502"/>
                  <a:pt x="11703584" y="5530084"/>
                </a:cubicBezTo>
                <a:cubicBezTo>
                  <a:pt x="11676707" y="5486105"/>
                  <a:pt x="11682816" y="5456786"/>
                  <a:pt x="11723129" y="5417694"/>
                </a:cubicBezTo>
                <a:cubicBezTo>
                  <a:pt x="11735346" y="5406699"/>
                  <a:pt x="11763444" y="5401812"/>
                  <a:pt x="11751228" y="5374936"/>
                </a:cubicBezTo>
                <a:cubicBezTo>
                  <a:pt x="11739011" y="5350502"/>
                  <a:pt x="11718244" y="5338287"/>
                  <a:pt x="11690146" y="5338287"/>
                </a:cubicBezTo>
                <a:cubicBezTo>
                  <a:pt x="11622955" y="5338287"/>
                  <a:pt x="11556985" y="5335842"/>
                  <a:pt x="11489795" y="5339507"/>
                </a:cubicBezTo>
                <a:cubicBezTo>
                  <a:pt x="11453145" y="5341952"/>
                  <a:pt x="11443371" y="5329735"/>
                  <a:pt x="11447036" y="5295528"/>
                </a:cubicBezTo>
                <a:cubicBezTo>
                  <a:pt x="11451923" y="5266207"/>
                  <a:pt x="11449481" y="5234446"/>
                  <a:pt x="11449481" y="5202683"/>
                </a:cubicBezTo>
                <a:cubicBezTo>
                  <a:pt x="11449481" y="5166034"/>
                  <a:pt x="11450701" y="5129384"/>
                  <a:pt x="11449481" y="5092735"/>
                </a:cubicBezTo>
                <a:cubicBezTo>
                  <a:pt x="11448258" y="5058528"/>
                  <a:pt x="11466583" y="5036539"/>
                  <a:pt x="11492238" y="5018215"/>
                </a:cubicBezTo>
                <a:cubicBezTo>
                  <a:pt x="11511785" y="5004774"/>
                  <a:pt x="11528888" y="5007220"/>
                  <a:pt x="11545990" y="5025544"/>
                </a:cubicBezTo>
                <a:cubicBezTo>
                  <a:pt x="11608295" y="5089069"/>
                  <a:pt x="11622955" y="5091513"/>
                  <a:pt x="11668156" y="5051198"/>
                </a:cubicBezTo>
                <a:cubicBezTo>
                  <a:pt x="11713357" y="5010884"/>
                  <a:pt x="11720686" y="4925368"/>
                  <a:pt x="11682816" y="4877723"/>
                </a:cubicBezTo>
                <a:cubicBezTo>
                  <a:pt x="11638837" y="4822748"/>
                  <a:pt x="11602187" y="4821529"/>
                  <a:pt x="11555765" y="4874058"/>
                </a:cubicBezTo>
                <a:cubicBezTo>
                  <a:pt x="11543547" y="4887496"/>
                  <a:pt x="11536218" y="4913152"/>
                  <a:pt x="11508120" y="4902158"/>
                </a:cubicBezTo>
                <a:cubicBezTo>
                  <a:pt x="11477578" y="4891162"/>
                  <a:pt x="11451923" y="4871616"/>
                  <a:pt x="11450701" y="4839852"/>
                </a:cubicBezTo>
                <a:cubicBezTo>
                  <a:pt x="11447036" y="4758002"/>
                  <a:pt x="11449481" y="4674930"/>
                  <a:pt x="11448258" y="4591857"/>
                </a:cubicBezTo>
                <a:cubicBezTo>
                  <a:pt x="11448258" y="4567425"/>
                  <a:pt x="11465361" y="4573534"/>
                  <a:pt x="11477578" y="4573534"/>
                </a:cubicBezTo>
                <a:cubicBezTo>
                  <a:pt x="11544768" y="4573534"/>
                  <a:pt x="11610737" y="4573534"/>
                  <a:pt x="11677929" y="4573534"/>
                </a:cubicBezTo>
                <a:cubicBezTo>
                  <a:pt x="11695032" y="4573534"/>
                  <a:pt x="11713357" y="4574756"/>
                  <a:pt x="11728016" y="4562539"/>
                </a:cubicBezTo>
                <a:cubicBezTo>
                  <a:pt x="11751228" y="4544213"/>
                  <a:pt x="11769553" y="4529553"/>
                  <a:pt x="11735346" y="4500233"/>
                </a:cubicBezTo>
                <a:cubicBezTo>
                  <a:pt x="11666934" y="4441595"/>
                  <a:pt x="11682816" y="4358522"/>
                  <a:pt x="11768331" y="4323095"/>
                </a:cubicBezTo>
                <a:cubicBezTo>
                  <a:pt x="11785434" y="4316070"/>
                  <a:pt x="11803224" y="4312177"/>
                  <a:pt x="11820900" y="4311166"/>
                </a:cubicBezTo>
                <a:close/>
                <a:moveTo>
                  <a:pt x="5742911" y="3557222"/>
                </a:moveTo>
                <a:cubicBezTo>
                  <a:pt x="5785237" y="3561738"/>
                  <a:pt x="5826597" y="3581666"/>
                  <a:pt x="5851336" y="3613963"/>
                </a:cubicBezTo>
                <a:cubicBezTo>
                  <a:pt x="5884320" y="3659163"/>
                  <a:pt x="5880655" y="3697035"/>
                  <a:pt x="5840341" y="3736128"/>
                </a:cubicBezTo>
                <a:cubicBezTo>
                  <a:pt x="5828123" y="3748345"/>
                  <a:pt x="5795140" y="3750787"/>
                  <a:pt x="5811021" y="3780107"/>
                </a:cubicBezTo>
                <a:cubicBezTo>
                  <a:pt x="5823239" y="3804540"/>
                  <a:pt x="5844004" y="3815534"/>
                  <a:pt x="5873327" y="3815534"/>
                </a:cubicBezTo>
                <a:cubicBezTo>
                  <a:pt x="5942958" y="3814314"/>
                  <a:pt x="6012594" y="3816757"/>
                  <a:pt x="6082230" y="3814314"/>
                </a:cubicBezTo>
                <a:cubicBezTo>
                  <a:pt x="6102386" y="3813398"/>
                  <a:pt x="6112234" y="3817291"/>
                  <a:pt x="6115900" y="3831149"/>
                </a:cubicBezTo>
                <a:lnTo>
                  <a:pt x="6116334" y="3835442"/>
                </a:lnTo>
                <a:lnTo>
                  <a:pt x="6135367" y="3820781"/>
                </a:lnTo>
                <a:cubicBezTo>
                  <a:pt x="6143326" y="3819255"/>
                  <a:pt x="6153251" y="3819407"/>
                  <a:pt x="6165468" y="3821240"/>
                </a:cubicBezTo>
                <a:cubicBezTo>
                  <a:pt x="6193565" y="3826127"/>
                  <a:pt x="6221664" y="3822462"/>
                  <a:pt x="6250984" y="3822462"/>
                </a:cubicBezTo>
                <a:cubicBezTo>
                  <a:pt x="6286411" y="3822462"/>
                  <a:pt x="6320618" y="3823685"/>
                  <a:pt x="6356045" y="3822462"/>
                </a:cubicBezTo>
                <a:cubicBezTo>
                  <a:pt x="6393917" y="3821240"/>
                  <a:pt x="6419570" y="3842009"/>
                  <a:pt x="6434230" y="3873772"/>
                </a:cubicBezTo>
                <a:cubicBezTo>
                  <a:pt x="6451333" y="3907977"/>
                  <a:pt x="6419570" y="3920194"/>
                  <a:pt x="6401245" y="3938519"/>
                </a:cubicBezTo>
                <a:cubicBezTo>
                  <a:pt x="6362153" y="3975168"/>
                  <a:pt x="6359710" y="3998381"/>
                  <a:pt x="6395138" y="4039916"/>
                </a:cubicBezTo>
                <a:cubicBezTo>
                  <a:pt x="6437895" y="4090005"/>
                  <a:pt x="6527076" y="4097333"/>
                  <a:pt x="6574721" y="4054576"/>
                </a:cubicBezTo>
                <a:cubicBezTo>
                  <a:pt x="6628473" y="4008153"/>
                  <a:pt x="6628473" y="3977611"/>
                  <a:pt x="6575941" y="3931189"/>
                </a:cubicBezTo>
                <a:cubicBezTo>
                  <a:pt x="6562504" y="3918974"/>
                  <a:pt x="6538071" y="3910422"/>
                  <a:pt x="6547844" y="3883545"/>
                </a:cubicBezTo>
                <a:cubicBezTo>
                  <a:pt x="6558839" y="3853004"/>
                  <a:pt x="6578386" y="3827349"/>
                  <a:pt x="6610148" y="3826127"/>
                </a:cubicBezTo>
                <a:cubicBezTo>
                  <a:pt x="6691998" y="3822462"/>
                  <a:pt x="6775070" y="3824905"/>
                  <a:pt x="6856921" y="3823685"/>
                </a:cubicBezTo>
                <a:cubicBezTo>
                  <a:pt x="6881354" y="3823685"/>
                  <a:pt x="6875246" y="3840787"/>
                  <a:pt x="6875246" y="3853004"/>
                </a:cubicBezTo>
                <a:cubicBezTo>
                  <a:pt x="6875246" y="3920194"/>
                  <a:pt x="6875246" y="3986164"/>
                  <a:pt x="6875246" y="4053355"/>
                </a:cubicBezTo>
                <a:cubicBezTo>
                  <a:pt x="6875246" y="4074123"/>
                  <a:pt x="6877689" y="4093668"/>
                  <a:pt x="6892348" y="4110773"/>
                </a:cubicBezTo>
                <a:cubicBezTo>
                  <a:pt x="6911895" y="4132762"/>
                  <a:pt x="6926555" y="4137648"/>
                  <a:pt x="6948545" y="4110773"/>
                </a:cubicBezTo>
                <a:cubicBezTo>
                  <a:pt x="7005962" y="4043581"/>
                  <a:pt x="7068267" y="4049690"/>
                  <a:pt x="7117131" y="4126653"/>
                </a:cubicBezTo>
                <a:cubicBezTo>
                  <a:pt x="7155003" y="4186514"/>
                  <a:pt x="7136679" y="4286688"/>
                  <a:pt x="7080482" y="4328224"/>
                </a:cubicBezTo>
                <a:cubicBezTo>
                  <a:pt x="7034060" y="4362430"/>
                  <a:pt x="6999854" y="4357545"/>
                  <a:pt x="6959540" y="4317229"/>
                </a:cubicBezTo>
                <a:cubicBezTo>
                  <a:pt x="6947323" y="4305014"/>
                  <a:pt x="6942436" y="4273250"/>
                  <a:pt x="6914338" y="4287910"/>
                </a:cubicBezTo>
                <a:cubicBezTo>
                  <a:pt x="6891126" y="4300127"/>
                  <a:pt x="6877689" y="4320896"/>
                  <a:pt x="6877689" y="4350213"/>
                </a:cubicBezTo>
                <a:cubicBezTo>
                  <a:pt x="6878911" y="4417403"/>
                  <a:pt x="6876468" y="4483374"/>
                  <a:pt x="6878911" y="4550565"/>
                </a:cubicBezTo>
                <a:cubicBezTo>
                  <a:pt x="6880133" y="4582327"/>
                  <a:pt x="6874024" y="4594544"/>
                  <a:pt x="6838596" y="4592100"/>
                </a:cubicBezTo>
                <a:cubicBezTo>
                  <a:pt x="6775070" y="4588436"/>
                  <a:pt x="6711545" y="4590880"/>
                  <a:pt x="6648020" y="4590880"/>
                </a:cubicBezTo>
                <a:cubicBezTo>
                  <a:pt x="6628473" y="4590880"/>
                  <a:pt x="6610148" y="4592100"/>
                  <a:pt x="6594266" y="4604318"/>
                </a:cubicBezTo>
                <a:cubicBezTo>
                  <a:pt x="6571056" y="4623864"/>
                  <a:pt x="6562504" y="4638522"/>
                  <a:pt x="6591823" y="4662956"/>
                </a:cubicBezTo>
                <a:cubicBezTo>
                  <a:pt x="6655348" y="4715488"/>
                  <a:pt x="6652905" y="4766796"/>
                  <a:pt x="6589381" y="4819328"/>
                </a:cubicBezTo>
                <a:cubicBezTo>
                  <a:pt x="6530741" y="4866973"/>
                  <a:pt x="6422015" y="4855979"/>
                  <a:pt x="6375592" y="4796116"/>
                </a:cubicBezTo>
                <a:cubicBezTo>
                  <a:pt x="6338943" y="4749693"/>
                  <a:pt x="6342608" y="4711821"/>
                  <a:pt x="6385365" y="4670287"/>
                </a:cubicBezTo>
                <a:cubicBezTo>
                  <a:pt x="6397580" y="4658070"/>
                  <a:pt x="6425680" y="4653182"/>
                  <a:pt x="6415905" y="4628749"/>
                </a:cubicBezTo>
                <a:cubicBezTo>
                  <a:pt x="6404910" y="4603096"/>
                  <a:pt x="6381700" y="4588436"/>
                  <a:pt x="6351158" y="4589658"/>
                </a:cubicBezTo>
                <a:cubicBezTo>
                  <a:pt x="6283968" y="4590880"/>
                  <a:pt x="6217999" y="4587214"/>
                  <a:pt x="6150809" y="4590880"/>
                </a:cubicBezTo>
                <a:cubicBezTo>
                  <a:pt x="6133707" y="4591491"/>
                  <a:pt x="6123322" y="4589047"/>
                  <a:pt x="6117367" y="4582327"/>
                </a:cubicBezTo>
                <a:lnTo>
                  <a:pt x="6114197" y="4575109"/>
                </a:lnTo>
                <a:lnTo>
                  <a:pt x="6109104" y="4582272"/>
                </a:lnTo>
                <a:cubicBezTo>
                  <a:pt x="6104218" y="4585785"/>
                  <a:pt x="6096888" y="4586396"/>
                  <a:pt x="6087114" y="4586396"/>
                </a:cubicBezTo>
                <a:cubicBezTo>
                  <a:pt x="6012594" y="4585175"/>
                  <a:pt x="5938072" y="4586396"/>
                  <a:pt x="5863552" y="4586396"/>
                </a:cubicBezTo>
                <a:cubicBezTo>
                  <a:pt x="5837898" y="4586396"/>
                  <a:pt x="5818351" y="4572957"/>
                  <a:pt x="5802472" y="4555854"/>
                </a:cubicBezTo>
                <a:cubicBezTo>
                  <a:pt x="5778036" y="4528977"/>
                  <a:pt x="5774373" y="4504545"/>
                  <a:pt x="5807356" y="4480114"/>
                </a:cubicBezTo>
                <a:cubicBezTo>
                  <a:pt x="5833011" y="4461788"/>
                  <a:pt x="5863552" y="4441018"/>
                  <a:pt x="5847670" y="4403148"/>
                </a:cubicBezTo>
                <a:cubicBezTo>
                  <a:pt x="5830567" y="4361611"/>
                  <a:pt x="5801250" y="4332291"/>
                  <a:pt x="5752384" y="4329849"/>
                </a:cubicBezTo>
                <a:cubicBezTo>
                  <a:pt x="5704740" y="4327406"/>
                  <a:pt x="5660758" y="4329849"/>
                  <a:pt x="5628995" y="4372606"/>
                </a:cubicBezTo>
                <a:cubicBezTo>
                  <a:pt x="5599676" y="4412923"/>
                  <a:pt x="5600896" y="4436133"/>
                  <a:pt x="5638769" y="4470339"/>
                </a:cubicBezTo>
                <a:cubicBezTo>
                  <a:pt x="5655874" y="4486221"/>
                  <a:pt x="5688856" y="4493550"/>
                  <a:pt x="5674197" y="4527758"/>
                </a:cubicBezTo>
                <a:cubicBezTo>
                  <a:pt x="5659538" y="4564408"/>
                  <a:pt x="5632660" y="4586396"/>
                  <a:pt x="5591125" y="4586396"/>
                </a:cubicBezTo>
                <a:cubicBezTo>
                  <a:pt x="5520269" y="4586396"/>
                  <a:pt x="5448192" y="4585175"/>
                  <a:pt x="5377337" y="4586396"/>
                </a:cubicBezTo>
                <a:cubicBezTo>
                  <a:pt x="5350458" y="4587617"/>
                  <a:pt x="5346796" y="4576623"/>
                  <a:pt x="5346796" y="4553411"/>
                </a:cubicBezTo>
                <a:cubicBezTo>
                  <a:pt x="5348016" y="4486221"/>
                  <a:pt x="5346796" y="4420251"/>
                  <a:pt x="5348016" y="4353059"/>
                </a:cubicBezTo>
                <a:cubicBezTo>
                  <a:pt x="5348016" y="4329849"/>
                  <a:pt x="5344352" y="4309081"/>
                  <a:pt x="5327249" y="4291978"/>
                </a:cubicBezTo>
                <a:cubicBezTo>
                  <a:pt x="5310145" y="4274875"/>
                  <a:pt x="5295486" y="4267544"/>
                  <a:pt x="5278383" y="4293199"/>
                </a:cubicBezTo>
                <a:cubicBezTo>
                  <a:pt x="5253948" y="4328628"/>
                  <a:pt x="5222185" y="4357946"/>
                  <a:pt x="5174543" y="4337181"/>
                </a:cubicBezTo>
                <a:cubicBezTo>
                  <a:pt x="5125677" y="4315189"/>
                  <a:pt x="5092692" y="4279761"/>
                  <a:pt x="5089026" y="4221122"/>
                </a:cubicBezTo>
                <a:cubicBezTo>
                  <a:pt x="5085363" y="4164927"/>
                  <a:pt x="5093914" y="4113618"/>
                  <a:pt x="5144002" y="4078190"/>
                </a:cubicBezTo>
                <a:cubicBezTo>
                  <a:pt x="5191646" y="4043983"/>
                  <a:pt x="5224631" y="4046428"/>
                  <a:pt x="5264946" y="4087965"/>
                </a:cubicBezTo>
                <a:cubicBezTo>
                  <a:pt x="5277159" y="4101402"/>
                  <a:pt x="5283271" y="4130722"/>
                  <a:pt x="5311367" y="4117283"/>
                </a:cubicBezTo>
                <a:cubicBezTo>
                  <a:pt x="5335801" y="4105067"/>
                  <a:pt x="5346796" y="4083077"/>
                  <a:pt x="5346796" y="4054980"/>
                </a:cubicBezTo>
                <a:cubicBezTo>
                  <a:pt x="5346796" y="3986566"/>
                  <a:pt x="5348016" y="3918154"/>
                  <a:pt x="5345574" y="3849742"/>
                </a:cubicBezTo>
                <a:cubicBezTo>
                  <a:pt x="5344352" y="3821644"/>
                  <a:pt x="5349236" y="3809427"/>
                  <a:pt x="5381003" y="3811870"/>
                </a:cubicBezTo>
                <a:cubicBezTo>
                  <a:pt x="5416429" y="3817979"/>
                  <a:pt x="5451858" y="3815534"/>
                  <a:pt x="5486063" y="3815534"/>
                </a:cubicBezTo>
                <a:cubicBezTo>
                  <a:pt x="5522713" y="3815534"/>
                  <a:pt x="5559361" y="3814314"/>
                  <a:pt x="5596012" y="3815534"/>
                </a:cubicBezTo>
                <a:cubicBezTo>
                  <a:pt x="5624110" y="3816757"/>
                  <a:pt x="5641213" y="3799654"/>
                  <a:pt x="5650984" y="3777664"/>
                </a:cubicBezTo>
                <a:cubicBezTo>
                  <a:pt x="5660758" y="3755674"/>
                  <a:pt x="5636325" y="3748345"/>
                  <a:pt x="5625329" y="3738570"/>
                </a:cubicBezTo>
                <a:cubicBezTo>
                  <a:pt x="5567914" y="3684820"/>
                  <a:pt x="5576466" y="3622514"/>
                  <a:pt x="5649765" y="3576091"/>
                </a:cubicBezTo>
                <a:cubicBezTo>
                  <a:pt x="5665035" y="3566624"/>
                  <a:pt x="5682520" y="3560668"/>
                  <a:pt x="5700845" y="3557958"/>
                </a:cubicBezTo>
                <a:cubicBezTo>
                  <a:pt x="5714588" y="3555925"/>
                  <a:pt x="5728804" y="3555718"/>
                  <a:pt x="5742911" y="3557222"/>
                </a:cubicBezTo>
                <a:close/>
                <a:moveTo>
                  <a:pt x="5726517" y="2017504"/>
                </a:moveTo>
                <a:cubicBezTo>
                  <a:pt x="5769733" y="2023154"/>
                  <a:pt x="5810962" y="2045754"/>
                  <a:pt x="5834786" y="2083015"/>
                </a:cubicBezTo>
                <a:cubicBezTo>
                  <a:pt x="5861661" y="2124551"/>
                  <a:pt x="5855555" y="2157535"/>
                  <a:pt x="5820126" y="2192965"/>
                </a:cubicBezTo>
                <a:cubicBezTo>
                  <a:pt x="5806689" y="2206402"/>
                  <a:pt x="5777368" y="2210067"/>
                  <a:pt x="5787140" y="2236943"/>
                </a:cubicBezTo>
                <a:cubicBezTo>
                  <a:pt x="5798136" y="2266262"/>
                  <a:pt x="5823790" y="2277258"/>
                  <a:pt x="5855555" y="2277258"/>
                </a:cubicBezTo>
                <a:cubicBezTo>
                  <a:pt x="5917857" y="2276037"/>
                  <a:pt x="5978941" y="2279702"/>
                  <a:pt x="6041243" y="2276037"/>
                </a:cubicBezTo>
                <a:cubicBezTo>
                  <a:pt x="6080338" y="2273592"/>
                  <a:pt x="6097440" y="2280923"/>
                  <a:pt x="6093775" y="2326124"/>
                </a:cubicBezTo>
                <a:cubicBezTo>
                  <a:pt x="6088888" y="2389649"/>
                  <a:pt x="6093775" y="2453175"/>
                  <a:pt x="6092553" y="2516703"/>
                </a:cubicBezTo>
                <a:cubicBezTo>
                  <a:pt x="6092553" y="2543577"/>
                  <a:pt x="6101105" y="2561902"/>
                  <a:pt x="6121873" y="2577785"/>
                </a:cubicBezTo>
                <a:cubicBezTo>
                  <a:pt x="6134090" y="2586335"/>
                  <a:pt x="6142641" y="2585115"/>
                  <a:pt x="6154856" y="2574120"/>
                </a:cubicBezTo>
                <a:cubicBezTo>
                  <a:pt x="6241593" y="2494711"/>
                  <a:pt x="6290460" y="2503263"/>
                  <a:pt x="6351542" y="2611990"/>
                </a:cubicBezTo>
                <a:cubicBezTo>
                  <a:pt x="6352764" y="2644975"/>
                  <a:pt x="6352764" y="2676738"/>
                  <a:pt x="6352764" y="2708501"/>
                </a:cubicBezTo>
                <a:cubicBezTo>
                  <a:pt x="6338104" y="2734156"/>
                  <a:pt x="6325887" y="2761033"/>
                  <a:pt x="6300232" y="2779356"/>
                </a:cubicBezTo>
                <a:cubicBezTo>
                  <a:pt x="6251367" y="2817228"/>
                  <a:pt x="6212273" y="2813563"/>
                  <a:pt x="6170739" y="2769584"/>
                </a:cubicBezTo>
                <a:cubicBezTo>
                  <a:pt x="6159745" y="2757366"/>
                  <a:pt x="6154856" y="2729269"/>
                  <a:pt x="6129202" y="2742708"/>
                </a:cubicBezTo>
                <a:cubicBezTo>
                  <a:pt x="6107212" y="2753701"/>
                  <a:pt x="6093775" y="2772026"/>
                  <a:pt x="6093775" y="2800124"/>
                </a:cubicBezTo>
                <a:cubicBezTo>
                  <a:pt x="6094997" y="2869758"/>
                  <a:pt x="6092553" y="2939392"/>
                  <a:pt x="6094997" y="3009027"/>
                </a:cubicBezTo>
                <a:cubicBezTo>
                  <a:pt x="6096218" y="3042011"/>
                  <a:pt x="6085222" y="3048121"/>
                  <a:pt x="6054683" y="3046899"/>
                </a:cubicBezTo>
                <a:cubicBezTo>
                  <a:pt x="5989937" y="3044455"/>
                  <a:pt x="5923966" y="3045676"/>
                  <a:pt x="5859220" y="3045676"/>
                </a:cubicBezTo>
                <a:cubicBezTo>
                  <a:pt x="5839672" y="3045676"/>
                  <a:pt x="5821349" y="3046899"/>
                  <a:pt x="5805467" y="3060336"/>
                </a:cubicBezTo>
                <a:cubicBezTo>
                  <a:pt x="5785921" y="3078662"/>
                  <a:pt x="5774925" y="3095764"/>
                  <a:pt x="5804246" y="3116533"/>
                </a:cubicBezTo>
                <a:cubicBezTo>
                  <a:pt x="5834786" y="3138522"/>
                  <a:pt x="5861661" y="3165399"/>
                  <a:pt x="5849445" y="3206935"/>
                </a:cubicBezTo>
                <a:cubicBezTo>
                  <a:pt x="5834786" y="3254578"/>
                  <a:pt x="5803023" y="3288785"/>
                  <a:pt x="5751713" y="3299780"/>
                </a:cubicBezTo>
                <a:cubicBezTo>
                  <a:pt x="5674750" y="3315662"/>
                  <a:pt x="5616113" y="3293673"/>
                  <a:pt x="5581905" y="3237475"/>
                </a:cubicBezTo>
                <a:cubicBezTo>
                  <a:pt x="5555029" y="3193496"/>
                  <a:pt x="5561135" y="3162956"/>
                  <a:pt x="5601451" y="3125084"/>
                </a:cubicBezTo>
                <a:cubicBezTo>
                  <a:pt x="5613669" y="3114088"/>
                  <a:pt x="5640546" y="3109203"/>
                  <a:pt x="5629551" y="3083549"/>
                </a:cubicBezTo>
                <a:cubicBezTo>
                  <a:pt x="5619775" y="3059114"/>
                  <a:pt x="5599008" y="3046899"/>
                  <a:pt x="5573353" y="3045676"/>
                </a:cubicBezTo>
                <a:cubicBezTo>
                  <a:pt x="5525708" y="3044455"/>
                  <a:pt x="5478065" y="3045676"/>
                  <a:pt x="5430421" y="3045676"/>
                </a:cubicBezTo>
                <a:cubicBezTo>
                  <a:pt x="5324139" y="3045676"/>
                  <a:pt x="5324139" y="3045676"/>
                  <a:pt x="5324139" y="2938172"/>
                </a:cubicBezTo>
                <a:cubicBezTo>
                  <a:pt x="5324139" y="2894192"/>
                  <a:pt x="5325358" y="2848990"/>
                  <a:pt x="5324139" y="2805010"/>
                </a:cubicBezTo>
                <a:cubicBezTo>
                  <a:pt x="5322917" y="2775691"/>
                  <a:pt x="5335133" y="2752481"/>
                  <a:pt x="5355900" y="2734156"/>
                </a:cubicBezTo>
                <a:cubicBezTo>
                  <a:pt x="5380332" y="2712165"/>
                  <a:pt x="5403544" y="2707279"/>
                  <a:pt x="5427977" y="2737821"/>
                </a:cubicBezTo>
                <a:cubicBezTo>
                  <a:pt x="5447526" y="2763474"/>
                  <a:pt x="5467069" y="2795238"/>
                  <a:pt x="5508607" y="2780578"/>
                </a:cubicBezTo>
                <a:cubicBezTo>
                  <a:pt x="5552586" y="2765919"/>
                  <a:pt x="5579462" y="2724383"/>
                  <a:pt x="5581905" y="2674294"/>
                </a:cubicBezTo>
                <a:cubicBezTo>
                  <a:pt x="5584348" y="2629092"/>
                  <a:pt x="5577018" y="2590001"/>
                  <a:pt x="5537926" y="2560681"/>
                </a:cubicBezTo>
                <a:cubicBezTo>
                  <a:pt x="5497612" y="2530140"/>
                  <a:pt x="5475621" y="2532583"/>
                  <a:pt x="5440195" y="2570454"/>
                </a:cubicBezTo>
                <a:cubicBezTo>
                  <a:pt x="5424312" y="2587558"/>
                  <a:pt x="5418205" y="2619320"/>
                  <a:pt x="5382779" y="2605882"/>
                </a:cubicBezTo>
                <a:cubicBezTo>
                  <a:pt x="5347348" y="2591221"/>
                  <a:pt x="5325358" y="2565567"/>
                  <a:pt x="5324139" y="2527695"/>
                </a:cubicBezTo>
                <a:cubicBezTo>
                  <a:pt x="5322917" y="2453175"/>
                  <a:pt x="5324139" y="2378654"/>
                  <a:pt x="5322917" y="2304134"/>
                </a:cubicBezTo>
                <a:cubicBezTo>
                  <a:pt x="5322917" y="2280923"/>
                  <a:pt x="5332689" y="2278479"/>
                  <a:pt x="5351016" y="2278479"/>
                </a:cubicBezTo>
                <a:cubicBezTo>
                  <a:pt x="5419427" y="2279702"/>
                  <a:pt x="5487839" y="2278479"/>
                  <a:pt x="5556254" y="2278479"/>
                </a:cubicBezTo>
                <a:cubicBezTo>
                  <a:pt x="5575797" y="2278479"/>
                  <a:pt x="5594120" y="2277258"/>
                  <a:pt x="5610003" y="2263820"/>
                </a:cubicBezTo>
                <a:cubicBezTo>
                  <a:pt x="5631992" y="2244274"/>
                  <a:pt x="5641767" y="2228392"/>
                  <a:pt x="5611225" y="2203958"/>
                </a:cubicBezTo>
                <a:cubicBezTo>
                  <a:pt x="5547698" y="2152649"/>
                  <a:pt x="5548920" y="2108671"/>
                  <a:pt x="5606337" y="2053696"/>
                </a:cubicBezTo>
                <a:cubicBezTo>
                  <a:pt x="5638102" y="2023155"/>
                  <a:pt x="5683302" y="2011854"/>
                  <a:pt x="5726517" y="2017504"/>
                </a:cubicBezTo>
                <a:close/>
                <a:moveTo>
                  <a:pt x="0" y="0"/>
                </a:moveTo>
                <a:lnTo>
                  <a:pt x="5329115" y="0"/>
                </a:lnTo>
                <a:lnTo>
                  <a:pt x="5332434" y="5729"/>
                </a:lnTo>
                <a:cubicBezTo>
                  <a:pt x="5333904" y="11284"/>
                  <a:pt x="5334438" y="18309"/>
                  <a:pt x="5334132" y="27166"/>
                </a:cubicBezTo>
                <a:cubicBezTo>
                  <a:pt x="5331688" y="93135"/>
                  <a:pt x="5332910" y="160325"/>
                  <a:pt x="5332910" y="227517"/>
                </a:cubicBezTo>
                <a:cubicBezTo>
                  <a:pt x="5332910" y="245842"/>
                  <a:pt x="5334132" y="262944"/>
                  <a:pt x="5346347" y="276382"/>
                </a:cubicBezTo>
                <a:cubicBezTo>
                  <a:pt x="5364674" y="295929"/>
                  <a:pt x="5378111" y="304481"/>
                  <a:pt x="5402544" y="277604"/>
                </a:cubicBezTo>
                <a:cubicBezTo>
                  <a:pt x="5463627" y="204305"/>
                  <a:pt x="5551584" y="225072"/>
                  <a:pt x="5582127" y="317919"/>
                </a:cubicBezTo>
                <a:cubicBezTo>
                  <a:pt x="5606557" y="392438"/>
                  <a:pt x="5583346" y="463295"/>
                  <a:pt x="5523486" y="501165"/>
                </a:cubicBezTo>
                <a:cubicBezTo>
                  <a:pt x="5479508" y="529263"/>
                  <a:pt x="5450188" y="523155"/>
                  <a:pt x="5411097" y="481620"/>
                </a:cubicBezTo>
                <a:cubicBezTo>
                  <a:pt x="5398879" y="469403"/>
                  <a:pt x="5393991" y="441305"/>
                  <a:pt x="5369558" y="453522"/>
                </a:cubicBezTo>
                <a:cubicBezTo>
                  <a:pt x="5345127" y="464516"/>
                  <a:pt x="5332910" y="485285"/>
                  <a:pt x="5332910" y="514605"/>
                </a:cubicBezTo>
                <a:cubicBezTo>
                  <a:pt x="5334132" y="583017"/>
                  <a:pt x="5331688" y="651429"/>
                  <a:pt x="5334132" y="719841"/>
                </a:cubicBezTo>
                <a:cubicBezTo>
                  <a:pt x="5335356" y="750383"/>
                  <a:pt x="5328023" y="761378"/>
                  <a:pt x="5295041" y="760156"/>
                </a:cubicBezTo>
                <a:cubicBezTo>
                  <a:pt x="5229072" y="757713"/>
                  <a:pt x="5161881" y="758935"/>
                  <a:pt x="5094692" y="758935"/>
                </a:cubicBezTo>
                <a:cubicBezTo>
                  <a:pt x="5077586" y="758935"/>
                  <a:pt x="5060482" y="758935"/>
                  <a:pt x="5045820" y="772373"/>
                </a:cubicBezTo>
                <a:cubicBezTo>
                  <a:pt x="5025053" y="791918"/>
                  <a:pt x="5011616" y="805357"/>
                  <a:pt x="5043379" y="831012"/>
                </a:cubicBezTo>
                <a:cubicBezTo>
                  <a:pt x="5109351" y="883542"/>
                  <a:pt x="5102018" y="948291"/>
                  <a:pt x="5031161" y="997156"/>
                </a:cubicBezTo>
                <a:cubicBezTo>
                  <a:pt x="4963969" y="1042356"/>
                  <a:pt x="4861351" y="1019146"/>
                  <a:pt x="4818594" y="949511"/>
                </a:cubicBezTo>
                <a:cubicBezTo>
                  <a:pt x="4791718" y="905532"/>
                  <a:pt x="4797826" y="878656"/>
                  <a:pt x="4840582" y="837120"/>
                </a:cubicBezTo>
                <a:cubicBezTo>
                  <a:pt x="4852797" y="824903"/>
                  <a:pt x="4879674" y="818795"/>
                  <a:pt x="4866234" y="793140"/>
                </a:cubicBezTo>
                <a:cubicBezTo>
                  <a:pt x="4854020" y="772373"/>
                  <a:pt x="4836918" y="757713"/>
                  <a:pt x="4808822" y="758935"/>
                </a:cubicBezTo>
                <a:cubicBezTo>
                  <a:pt x="4737964" y="760156"/>
                  <a:pt x="4665887" y="758935"/>
                  <a:pt x="4595032" y="760156"/>
                </a:cubicBezTo>
                <a:cubicBezTo>
                  <a:pt x="4585870" y="760156"/>
                  <a:pt x="4578942" y="759469"/>
                  <a:pt x="4573923" y="757192"/>
                </a:cubicBezTo>
                <a:lnTo>
                  <a:pt x="4572290" y="755075"/>
                </a:lnTo>
                <a:lnTo>
                  <a:pt x="4542110" y="755075"/>
                </a:lnTo>
                <a:lnTo>
                  <a:pt x="4532620" y="757803"/>
                </a:lnTo>
                <a:cubicBezTo>
                  <a:pt x="4461765" y="756580"/>
                  <a:pt x="4389688" y="756580"/>
                  <a:pt x="4318830" y="757803"/>
                </a:cubicBezTo>
                <a:cubicBezTo>
                  <a:pt x="4291954" y="757803"/>
                  <a:pt x="4269964" y="746808"/>
                  <a:pt x="4252861" y="727261"/>
                </a:cubicBezTo>
                <a:cubicBezTo>
                  <a:pt x="4230872" y="701606"/>
                  <a:pt x="4222318" y="677173"/>
                  <a:pt x="4257749" y="652741"/>
                </a:cubicBezTo>
                <a:cubicBezTo>
                  <a:pt x="4284626" y="633194"/>
                  <a:pt x="4315164" y="611204"/>
                  <a:pt x="4298063" y="570889"/>
                </a:cubicBezTo>
                <a:cubicBezTo>
                  <a:pt x="4280960" y="531797"/>
                  <a:pt x="4251638" y="503698"/>
                  <a:pt x="4205214" y="501255"/>
                </a:cubicBezTo>
                <a:cubicBezTo>
                  <a:pt x="4161241" y="498812"/>
                  <a:pt x="4119705" y="498812"/>
                  <a:pt x="4087942" y="535462"/>
                </a:cubicBezTo>
                <a:cubicBezTo>
                  <a:pt x="4050070" y="578219"/>
                  <a:pt x="4051293" y="606317"/>
                  <a:pt x="4094050" y="644189"/>
                </a:cubicBezTo>
                <a:cubicBezTo>
                  <a:pt x="4111153" y="658848"/>
                  <a:pt x="4138030" y="669843"/>
                  <a:pt x="4127035" y="700384"/>
                </a:cubicBezTo>
                <a:cubicBezTo>
                  <a:pt x="4114818" y="732148"/>
                  <a:pt x="4090385" y="756580"/>
                  <a:pt x="4057400" y="757803"/>
                </a:cubicBezTo>
                <a:cubicBezTo>
                  <a:pt x="3977993" y="761467"/>
                  <a:pt x="3898585" y="759023"/>
                  <a:pt x="3819179" y="759023"/>
                </a:cubicBezTo>
                <a:lnTo>
                  <a:pt x="3813849" y="756900"/>
                </a:lnTo>
                <a:lnTo>
                  <a:pt x="3810549" y="758781"/>
                </a:lnTo>
                <a:lnTo>
                  <a:pt x="3815750" y="768157"/>
                </a:lnTo>
                <a:cubicBezTo>
                  <a:pt x="3817087" y="773464"/>
                  <a:pt x="3817545" y="780106"/>
                  <a:pt x="3817238" y="788353"/>
                </a:cubicBezTo>
                <a:cubicBezTo>
                  <a:pt x="3814797" y="853100"/>
                  <a:pt x="3816018" y="919069"/>
                  <a:pt x="3816018" y="983816"/>
                </a:cubicBezTo>
                <a:cubicBezTo>
                  <a:pt x="3816018" y="1011914"/>
                  <a:pt x="3809910" y="1036348"/>
                  <a:pt x="3789144" y="1057116"/>
                </a:cubicBezTo>
                <a:cubicBezTo>
                  <a:pt x="3757381" y="1088878"/>
                  <a:pt x="3737836" y="1087658"/>
                  <a:pt x="3708516" y="1053451"/>
                </a:cubicBezTo>
                <a:cubicBezTo>
                  <a:pt x="3688971" y="1031461"/>
                  <a:pt x="3670645" y="1000919"/>
                  <a:pt x="3635219" y="1014358"/>
                </a:cubicBezTo>
                <a:cubicBezTo>
                  <a:pt x="3596125" y="1029018"/>
                  <a:pt x="3566806" y="1054673"/>
                  <a:pt x="3560696" y="1098651"/>
                </a:cubicBezTo>
                <a:cubicBezTo>
                  <a:pt x="3553368" y="1151183"/>
                  <a:pt x="3555811" y="1200050"/>
                  <a:pt x="3603457" y="1235477"/>
                </a:cubicBezTo>
                <a:cubicBezTo>
                  <a:pt x="3642548" y="1264796"/>
                  <a:pt x="3664539" y="1262352"/>
                  <a:pt x="3697521" y="1226924"/>
                </a:cubicBezTo>
                <a:cubicBezTo>
                  <a:pt x="3714624" y="1208600"/>
                  <a:pt x="3724397" y="1174394"/>
                  <a:pt x="3759825" y="1190276"/>
                </a:cubicBezTo>
                <a:cubicBezTo>
                  <a:pt x="3794029" y="1204935"/>
                  <a:pt x="3814797" y="1233032"/>
                  <a:pt x="3816018" y="1270905"/>
                </a:cubicBezTo>
                <a:cubicBezTo>
                  <a:pt x="3817238" y="1344204"/>
                  <a:pt x="3816018" y="1417503"/>
                  <a:pt x="3817238" y="1489580"/>
                </a:cubicBezTo>
                <a:cubicBezTo>
                  <a:pt x="3817238" y="1499964"/>
                  <a:pt x="3815711" y="1506988"/>
                  <a:pt x="3811589" y="1511264"/>
                </a:cubicBezTo>
                <a:lnTo>
                  <a:pt x="3801031" y="1513846"/>
                </a:lnTo>
                <a:lnTo>
                  <a:pt x="3806488" y="1516917"/>
                </a:lnTo>
                <a:lnTo>
                  <a:pt x="3807926" y="1520360"/>
                </a:lnTo>
                <a:lnTo>
                  <a:pt x="3814241" y="1520360"/>
                </a:lnTo>
                <a:lnTo>
                  <a:pt x="3829058" y="1502514"/>
                </a:lnTo>
                <a:cubicBezTo>
                  <a:pt x="3837597" y="1499199"/>
                  <a:pt x="3849165" y="1498742"/>
                  <a:pt x="3863824" y="1499658"/>
                </a:cubicBezTo>
                <a:cubicBezTo>
                  <a:pt x="3926128" y="1503323"/>
                  <a:pt x="3987214" y="1499658"/>
                  <a:pt x="4049516" y="1500879"/>
                </a:cubicBezTo>
                <a:cubicBezTo>
                  <a:pt x="4081280" y="1500879"/>
                  <a:pt x="4106935" y="1489884"/>
                  <a:pt x="4117929" y="1460565"/>
                </a:cubicBezTo>
                <a:cubicBezTo>
                  <a:pt x="4127702" y="1433689"/>
                  <a:pt x="4098382" y="1430024"/>
                  <a:pt x="4084945" y="1416587"/>
                </a:cubicBezTo>
                <a:cubicBezTo>
                  <a:pt x="4049516" y="1381158"/>
                  <a:pt x="4043408" y="1348173"/>
                  <a:pt x="4070285" y="1306638"/>
                </a:cubicBezTo>
                <a:cubicBezTo>
                  <a:pt x="4094107" y="1269377"/>
                  <a:pt x="4135338" y="1246777"/>
                  <a:pt x="4178554" y="1241127"/>
                </a:cubicBezTo>
                <a:cubicBezTo>
                  <a:pt x="4221764" y="1235476"/>
                  <a:pt x="4266966" y="1246777"/>
                  <a:pt x="4298729" y="1277318"/>
                </a:cubicBezTo>
                <a:cubicBezTo>
                  <a:pt x="4356145" y="1332293"/>
                  <a:pt x="4357369" y="1376272"/>
                  <a:pt x="4293841" y="1427580"/>
                </a:cubicBezTo>
                <a:cubicBezTo>
                  <a:pt x="4263300" y="1452014"/>
                  <a:pt x="4273074" y="1467896"/>
                  <a:pt x="4295062" y="1487441"/>
                </a:cubicBezTo>
                <a:cubicBezTo>
                  <a:pt x="4310947" y="1500879"/>
                  <a:pt x="4329269" y="1502101"/>
                  <a:pt x="4348815" y="1502101"/>
                </a:cubicBezTo>
                <a:cubicBezTo>
                  <a:pt x="4417231" y="1502101"/>
                  <a:pt x="4485641" y="1503323"/>
                  <a:pt x="4554055" y="1502101"/>
                </a:cubicBezTo>
                <a:cubicBezTo>
                  <a:pt x="4567798" y="1502101"/>
                  <a:pt x="4576731" y="1503475"/>
                  <a:pt x="4580339" y="1513955"/>
                </a:cubicBezTo>
                <a:lnTo>
                  <a:pt x="4580382" y="1514287"/>
                </a:lnTo>
                <a:lnTo>
                  <a:pt x="4581432" y="1513558"/>
                </a:lnTo>
                <a:cubicBezTo>
                  <a:pt x="4585612" y="1512222"/>
                  <a:pt x="4591033" y="1511688"/>
                  <a:pt x="4598057" y="1511994"/>
                </a:cubicBezTo>
                <a:cubicBezTo>
                  <a:pt x="4668913" y="1514436"/>
                  <a:pt x="4740990" y="1513216"/>
                  <a:pt x="4811845" y="1513216"/>
                </a:cubicBezTo>
                <a:cubicBezTo>
                  <a:pt x="4853383" y="1513216"/>
                  <a:pt x="4880258" y="1535205"/>
                  <a:pt x="4894918" y="1571855"/>
                </a:cubicBezTo>
                <a:cubicBezTo>
                  <a:pt x="4908357" y="1606060"/>
                  <a:pt x="4876594" y="1614613"/>
                  <a:pt x="4859491" y="1630493"/>
                </a:cubicBezTo>
                <a:cubicBezTo>
                  <a:pt x="4821621" y="1665922"/>
                  <a:pt x="4820399" y="1690354"/>
                  <a:pt x="4853383" y="1731891"/>
                </a:cubicBezTo>
                <a:cubicBezTo>
                  <a:pt x="4883921" y="1769762"/>
                  <a:pt x="4925460" y="1772204"/>
                  <a:pt x="4969438" y="1770984"/>
                </a:cubicBezTo>
                <a:cubicBezTo>
                  <a:pt x="5020749" y="1768539"/>
                  <a:pt x="5052511" y="1740442"/>
                  <a:pt x="5069614" y="1696462"/>
                </a:cubicBezTo>
                <a:cubicBezTo>
                  <a:pt x="5085496" y="1656148"/>
                  <a:pt x="5051292" y="1636602"/>
                  <a:pt x="5025634" y="1617055"/>
                </a:cubicBezTo>
                <a:cubicBezTo>
                  <a:pt x="4997537" y="1595065"/>
                  <a:pt x="5001201" y="1573075"/>
                  <a:pt x="5020749" y="1548643"/>
                </a:cubicBezTo>
                <a:cubicBezTo>
                  <a:pt x="5039074" y="1525431"/>
                  <a:pt x="5062283" y="1513216"/>
                  <a:pt x="5094050" y="1513216"/>
                </a:cubicBezTo>
                <a:cubicBezTo>
                  <a:pt x="5163683" y="1514436"/>
                  <a:pt x="5233316" y="1515658"/>
                  <a:pt x="5302949" y="1513216"/>
                </a:cubicBezTo>
                <a:cubicBezTo>
                  <a:pt x="5332270" y="1511994"/>
                  <a:pt x="5337157" y="1524210"/>
                  <a:pt x="5335935" y="1548643"/>
                </a:cubicBezTo>
                <a:cubicBezTo>
                  <a:pt x="5334713" y="1581628"/>
                  <a:pt x="5335935" y="1615833"/>
                  <a:pt x="5335935" y="1648817"/>
                </a:cubicBezTo>
                <a:cubicBezTo>
                  <a:pt x="5337157" y="1668364"/>
                  <a:pt x="5337157" y="1686689"/>
                  <a:pt x="5335935" y="1706237"/>
                </a:cubicBezTo>
                <a:cubicBezTo>
                  <a:pt x="5335935" y="1727004"/>
                  <a:pt x="5337157" y="1747772"/>
                  <a:pt x="5335935" y="1768539"/>
                </a:cubicBezTo>
                <a:cubicBezTo>
                  <a:pt x="5333492" y="1805189"/>
                  <a:pt x="5312721" y="1830844"/>
                  <a:pt x="5279741" y="1844283"/>
                </a:cubicBezTo>
                <a:cubicBezTo>
                  <a:pt x="5246756" y="1857721"/>
                  <a:pt x="5235760" y="1827179"/>
                  <a:pt x="5219879" y="1808854"/>
                </a:cubicBezTo>
                <a:cubicBezTo>
                  <a:pt x="5185675" y="1770984"/>
                  <a:pt x="5161239" y="1768539"/>
                  <a:pt x="5122147" y="1799081"/>
                </a:cubicBezTo>
                <a:cubicBezTo>
                  <a:pt x="5074501" y="1834509"/>
                  <a:pt x="5070837" y="1883375"/>
                  <a:pt x="5080610" y="1935906"/>
                </a:cubicBezTo>
                <a:cubicBezTo>
                  <a:pt x="5087938" y="1979885"/>
                  <a:pt x="5117259" y="2005540"/>
                  <a:pt x="5156351" y="2018979"/>
                </a:cubicBezTo>
                <a:cubicBezTo>
                  <a:pt x="5193002" y="2029974"/>
                  <a:pt x="5210105" y="2000654"/>
                  <a:pt x="5229651" y="1978665"/>
                </a:cubicBezTo>
                <a:cubicBezTo>
                  <a:pt x="5260193" y="1945680"/>
                  <a:pt x="5278517" y="1945680"/>
                  <a:pt x="5311502" y="1977443"/>
                </a:cubicBezTo>
                <a:cubicBezTo>
                  <a:pt x="5331048" y="1996989"/>
                  <a:pt x="5335935" y="2020200"/>
                  <a:pt x="5335935" y="2047077"/>
                </a:cubicBezTo>
                <a:cubicBezTo>
                  <a:pt x="5334713" y="2114267"/>
                  <a:pt x="5333492" y="2181459"/>
                  <a:pt x="5335935" y="2247429"/>
                </a:cubicBezTo>
                <a:cubicBezTo>
                  <a:pt x="5337157" y="2275526"/>
                  <a:pt x="5331048" y="2285299"/>
                  <a:pt x="5300506" y="2284079"/>
                </a:cubicBezTo>
                <a:cubicBezTo>
                  <a:pt x="5230872" y="2281634"/>
                  <a:pt x="5161239" y="2282856"/>
                  <a:pt x="5091606" y="2282856"/>
                </a:cubicBezTo>
                <a:cubicBezTo>
                  <a:pt x="5062283" y="2282856"/>
                  <a:pt x="5041516" y="2297516"/>
                  <a:pt x="5030522" y="2320726"/>
                </a:cubicBezTo>
                <a:cubicBezTo>
                  <a:pt x="5018307" y="2346381"/>
                  <a:pt x="5046403" y="2351268"/>
                  <a:pt x="5058619" y="2362263"/>
                </a:cubicBezTo>
                <a:cubicBezTo>
                  <a:pt x="5102599" y="2402578"/>
                  <a:pt x="5106265" y="2439228"/>
                  <a:pt x="5070837" y="2486872"/>
                </a:cubicBezTo>
                <a:cubicBezTo>
                  <a:pt x="5034186" y="2535737"/>
                  <a:pt x="4982875" y="2543067"/>
                  <a:pt x="4926682" y="2539402"/>
                </a:cubicBezTo>
                <a:cubicBezTo>
                  <a:pt x="4869262" y="2535737"/>
                  <a:pt x="4833836" y="2501532"/>
                  <a:pt x="4813067" y="2452666"/>
                </a:cubicBezTo>
                <a:cubicBezTo>
                  <a:pt x="4793521" y="2406242"/>
                  <a:pt x="4822840" y="2376923"/>
                  <a:pt x="4855825" y="2352491"/>
                </a:cubicBezTo>
                <a:cubicBezTo>
                  <a:pt x="4886368" y="2329278"/>
                  <a:pt x="4872928" y="2313396"/>
                  <a:pt x="4853383" y="2296294"/>
                </a:cubicBezTo>
                <a:cubicBezTo>
                  <a:pt x="4837499" y="2282856"/>
                  <a:pt x="4819176" y="2281634"/>
                  <a:pt x="4799629" y="2281634"/>
                </a:cubicBezTo>
                <a:cubicBezTo>
                  <a:pt x="4744656" y="2281634"/>
                  <a:pt x="4688460" y="2281634"/>
                  <a:pt x="4633486" y="2281634"/>
                </a:cubicBezTo>
                <a:cubicBezTo>
                  <a:pt x="4584009" y="2281634"/>
                  <a:pt x="4571638" y="2281634"/>
                  <a:pt x="4568545" y="2254834"/>
                </a:cubicBezTo>
                <a:lnTo>
                  <a:pt x="4568533" y="2254378"/>
                </a:lnTo>
                <a:lnTo>
                  <a:pt x="4567644" y="2255861"/>
                </a:lnTo>
                <a:lnTo>
                  <a:pt x="4544720" y="2264404"/>
                </a:lnTo>
                <a:lnTo>
                  <a:pt x="4554906" y="2264379"/>
                </a:lnTo>
                <a:cubicBezTo>
                  <a:pt x="4579338" y="2264379"/>
                  <a:pt x="4573231" y="2281482"/>
                  <a:pt x="4573231" y="2293699"/>
                </a:cubicBezTo>
                <a:cubicBezTo>
                  <a:pt x="4573231" y="2360888"/>
                  <a:pt x="4573231" y="2426858"/>
                  <a:pt x="4573231" y="2494050"/>
                </a:cubicBezTo>
                <a:cubicBezTo>
                  <a:pt x="4573231" y="2514817"/>
                  <a:pt x="4575675" y="2534362"/>
                  <a:pt x="4590334" y="2551467"/>
                </a:cubicBezTo>
                <a:cubicBezTo>
                  <a:pt x="4609880" y="2573457"/>
                  <a:pt x="4624541" y="2578342"/>
                  <a:pt x="4646530" y="2551467"/>
                </a:cubicBezTo>
                <a:cubicBezTo>
                  <a:pt x="4703946" y="2484275"/>
                  <a:pt x="4766251" y="2490385"/>
                  <a:pt x="4815115" y="2567347"/>
                </a:cubicBezTo>
                <a:cubicBezTo>
                  <a:pt x="4852987" y="2627209"/>
                  <a:pt x="4834663" y="2727384"/>
                  <a:pt x="4778466" y="2768920"/>
                </a:cubicBezTo>
                <a:cubicBezTo>
                  <a:pt x="4732044" y="2803126"/>
                  <a:pt x="4697840" y="2798240"/>
                  <a:pt x="4657524" y="2757926"/>
                </a:cubicBezTo>
                <a:cubicBezTo>
                  <a:pt x="4645308" y="2745708"/>
                  <a:pt x="4640420" y="2713946"/>
                  <a:pt x="4612323" y="2728606"/>
                </a:cubicBezTo>
                <a:cubicBezTo>
                  <a:pt x="4589112" y="2740822"/>
                  <a:pt x="4575675" y="2761591"/>
                  <a:pt x="4575675" y="2790910"/>
                </a:cubicBezTo>
                <a:cubicBezTo>
                  <a:pt x="4576894" y="2858100"/>
                  <a:pt x="4574453" y="2924070"/>
                  <a:pt x="4576894" y="2991261"/>
                </a:cubicBezTo>
                <a:cubicBezTo>
                  <a:pt x="4577506" y="3007143"/>
                  <a:pt x="4576286" y="3018138"/>
                  <a:pt x="4570481" y="3024856"/>
                </a:cubicBezTo>
                <a:lnTo>
                  <a:pt x="4561944" y="3029609"/>
                </a:lnTo>
                <a:lnTo>
                  <a:pt x="4568608" y="3030206"/>
                </a:lnTo>
                <a:cubicBezTo>
                  <a:pt x="4573170" y="3031561"/>
                  <a:pt x="4576490" y="3033737"/>
                  <a:pt x="4578857" y="3036715"/>
                </a:cubicBezTo>
                <a:lnTo>
                  <a:pt x="4581540" y="3051267"/>
                </a:lnTo>
                <a:lnTo>
                  <a:pt x="4595169" y="3045892"/>
                </a:lnTo>
                <a:cubicBezTo>
                  <a:pt x="4602213" y="3044843"/>
                  <a:pt x="4610614" y="3044843"/>
                  <a:pt x="4620385" y="3045454"/>
                </a:cubicBezTo>
                <a:cubicBezTo>
                  <a:pt x="4682688" y="3049119"/>
                  <a:pt x="4743775" y="3045454"/>
                  <a:pt x="4806076" y="3046674"/>
                </a:cubicBezTo>
                <a:cubicBezTo>
                  <a:pt x="4837839" y="3046674"/>
                  <a:pt x="4863493" y="3035679"/>
                  <a:pt x="4874487" y="3006359"/>
                </a:cubicBezTo>
                <a:cubicBezTo>
                  <a:pt x="4884260" y="2979484"/>
                  <a:pt x="4854941" y="2975819"/>
                  <a:pt x="4841504" y="2962382"/>
                </a:cubicBezTo>
                <a:cubicBezTo>
                  <a:pt x="4806076" y="2926952"/>
                  <a:pt x="4799966" y="2893968"/>
                  <a:pt x="4826843" y="2852433"/>
                </a:cubicBezTo>
                <a:cubicBezTo>
                  <a:pt x="4874487" y="2777911"/>
                  <a:pt x="4991766" y="2762031"/>
                  <a:pt x="5055294" y="2823113"/>
                </a:cubicBezTo>
                <a:cubicBezTo>
                  <a:pt x="5112710" y="2878088"/>
                  <a:pt x="5113934" y="2922067"/>
                  <a:pt x="5050406" y="2973375"/>
                </a:cubicBezTo>
                <a:cubicBezTo>
                  <a:pt x="5019863" y="2997809"/>
                  <a:pt x="5029637" y="3013691"/>
                  <a:pt x="5051628" y="3033236"/>
                </a:cubicBezTo>
                <a:cubicBezTo>
                  <a:pt x="5067509" y="3046674"/>
                  <a:pt x="5085834" y="3047896"/>
                  <a:pt x="5105382" y="3047896"/>
                </a:cubicBezTo>
                <a:cubicBezTo>
                  <a:pt x="5173793" y="3047896"/>
                  <a:pt x="5242205" y="3049119"/>
                  <a:pt x="5310620" y="3047896"/>
                </a:cubicBezTo>
                <a:cubicBezTo>
                  <a:pt x="5328943" y="3047896"/>
                  <a:pt x="5338715" y="3050340"/>
                  <a:pt x="5338715" y="3073551"/>
                </a:cubicBezTo>
                <a:cubicBezTo>
                  <a:pt x="5337493" y="3148071"/>
                  <a:pt x="5338715" y="3222592"/>
                  <a:pt x="5337493" y="3297112"/>
                </a:cubicBezTo>
                <a:cubicBezTo>
                  <a:pt x="5336275" y="3334984"/>
                  <a:pt x="5314284" y="3360640"/>
                  <a:pt x="5278853" y="3375299"/>
                </a:cubicBezTo>
                <a:cubicBezTo>
                  <a:pt x="5243424" y="3388737"/>
                  <a:pt x="5237318" y="3356974"/>
                  <a:pt x="5221435" y="3339871"/>
                </a:cubicBezTo>
                <a:cubicBezTo>
                  <a:pt x="5186011" y="3302000"/>
                  <a:pt x="5164019" y="3299557"/>
                  <a:pt x="5123706" y="3330097"/>
                </a:cubicBezTo>
                <a:cubicBezTo>
                  <a:pt x="5084613" y="3359419"/>
                  <a:pt x="5077283" y="3398509"/>
                  <a:pt x="5079725" y="3443711"/>
                </a:cubicBezTo>
                <a:cubicBezTo>
                  <a:pt x="5082171" y="3493800"/>
                  <a:pt x="5109045" y="3535335"/>
                  <a:pt x="5153026" y="3549995"/>
                </a:cubicBezTo>
                <a:cubicBezTo>
                  <a:pt x="5194561" y="3564655"/>
                  <a:pt x="5214107" y="3532891"/>
                  <a:pt x="5233655" y="3507238"/>
                </a:cubicBezTo>
                <a:cubicBezTo>
                  <a:pt x="5258085" y="3476696"/>
                  <a:pt x="5281299" y="3481583"/>
                  <a:pt x="5305732" y="3503573"/>
                </a:cubicBezTo>
                <a:cubicBezTo>
                  <a:pt x="5326497" y="3521897"/>
                  <a:pt x="5338715" y="3545108"/>
                  <a:pt x="5337493" y="3574428"/>
                </a:cubicBezTo>
                <a:cubicBezTo>
                  <a:pt x="5336275" y="3618407"/>
                  <a:pt x="5337493" y="3663609"/>
                  <a:pt x="5337493" y="3707588"/>
                </a:cubicBezTo>
                <a:cubicBezTo>
                  <a:pt x="5337493" y="3815093"/>
                  <a:pt x="5337493" y="3815093"/>
                  <a:pt x="5231209" y="3815093"/>
                </a:cubicBezTo>
                <a:cubicBezTo>
                  <a:pt x="5183567" y="3815093"/>
                  <a:pt x="5135923" y="3813871"/>
                  <a:pt x="5088277" y="3815093"/>
                </a:cubicBezTo>
                <a:cubicBezTo>
                  <a:pt x="5062622" y="3816315"/>
                  <a:pt x="5041855" y="3828531"/>
                  <a:pt x="5032081" y="3852965"/>
                </a:cubicBezTo>
                <a:cubicBezTo>
                  <a:pt x="5021087" y="3878619"/>
                  <a:pt x="5047962" y="3883505"/>
                  <a:pt x="5060180" y="3894500"/>
                </a:cubicBezTo>
                <a:cubicBezTo>
                  <a:pt x="5100495" y="3932372"/>
                  <a:pt x="5106604" y="3962912"/>
                  <a:pt x="5079725" y="4006891"/>
                </a:cubicBezTo>
                <a:cubicBezTo>
                  <a:pt x="5045520" y="4063088"/>
                  <a:pt x="4986880" y="4085078"/>
                  <a:pt x="4909915" y="4069196"/>
                </a:cubicBezTo>
                <a:cubicBezTo>
                  <a:pt x="4858608" y="4058201"/>
                  <a:pt x="4826843" y="4023994"/>
                  <a:pt x="4812184" y="3976351"/>
                </a:cubicBezTo>
                <a:cubicBezTo>
                  <a:pt x="4799966" y="3934814"/>
                  <a:pt x="4826843" y="3907938"/>
                  <a:pt x="4857383" y="3885949"/>
                </a:cubicBezTo>
                <a:cubicBezTo>
                  <a:pt x="4886704" y="3865180"/>
                  <a:pt x="4875708" y="3848078"/>
                  <a:pt x="4856163" y="3829753"/>
                </a:cubicBezTo>
                <a:cubicBezTo>
                  <a:pt x="4840282" y="3816315"/>
                  <a:pt x="4821956" y="3815093"/>
                  <a:pt x="4802409" y="3815093"/>
                </a:cubicBezTo>
                <a:cubicBezTo>
                  <a:pt x="4737662" y="3815093"/>
                  <a:pt x="4671692" y="3813871"/>
                  <a:pt x="4606946" y="3816315"/>
                </a:cubicBezTo>
                <a:lnTo>
                  <a:pt x="4581843" y="3811533"/>
                </a:lnTo>
                <a:lnTo>
                  <a:pt x="4581798" y="3821095"/>
                </a:lnTo>
                <a:cubicBezTo>
                  <a:pt x="4581798" y="3896838"/>
                  <a:pt x="4583017" y="3973802"/>
                  <a:pt x="4581798" y="4049544"/>
                </a:cubicBezTo>
                <a:cubicBezTo>
                  <a:pt x="4581798" y="4084971"/>
                  <a:pt x="4558584" y="4106962"/>
                  <a:pt x="4528044" y="4121621"/>
                </a:cubicBezTo>
                <a:cubicBezTo>
                  <a:pt x="4495059" y="4137504"/>
                  <a:pt x="4484065" y="4106962"/>
                  <a:pt x="4468182" y="4089859"/>
                </a:cubicBezTo>
                <a:cubicBezTo>
                  <a:pt x="4430311" y="4047102"/>
                  <a:pt x="4407103" y="4045879"/>
                  <a:pt x="4364344" y="4081306"/>
                </a:cubicBezTo>
                <a:cubicBezTo>
                  <a:pt x="4309368" y="4127729"/>
                  <a:pt x="4306924" y="4223012"/>
                  <a:pt x="4360678" y="4271879"/>
                </a:cubicBezTo>
                <a:cubicBezTo>
                  <a:pt x="4403437" y="4310973"/>
                  <a:pt x="4430311" y="4309750"/>
                  <a:pt x="4469406" y="4266992"/>
                </a:cubicBezTo>
                <a:cubicBezTo>
                  <a:pt x="4485284" y="4249889"/>
                  <a:pt x="4496280" y="4219348"/>
                  <a:pt x="4529266" y="4235230"/>
                </a:cubicBezTo>
                <a:cubicBezTo>
                  <a:pt x="4561028" y="4249889"/>
                  <a:pt x="4583017" y="4273100"/>
                  <a:pt x="4583017" y="4312195"/>
                </a:cubicBezTo>
                <a:cubicBezTo>
                  <a:pt x="4585462" y="4347622"/>
                  <a:pt x="4585462" y="4384273"/>
                  <a:pt x="4585462" y="4420922"/>
                </a:cubicBezTo>
                <a:cubicBezTo>
                  <a:pt x="4585462" y="4458793"/>
                  <a:pt x="4584239" y="4496664"/>
                  <a:pt x="4585462" y="4535755"/>
                </a:cubicBezTo>
                <a:cubicBezTo>
                  <a:pt x="4586072" y="4546140"/>
                  <a:pt x="4584544" y="4552858"/>
                  <a:pt x="4580270" y="4556981"/>
                </a:cubicBezTo>
                <a:lnTo>
                  <a:pt x="4558623" y="4562623"/>
                </a:lnTo>
                <a:lnTo>
                  <a:pt x="4558623" y="4566440"/>
                </a:lnTo>
                <a:lnTo>
                  <a:pt x="4573343" y="4568280"/>
                </a:lnTo>
                <a:cubicBezTo>
                  <a:pt x="4578783" y="4570870"/>
                  <a:pt x="4582162" y="4575308"/>
                  <a:pt x="4583997" y="4582238"/>
                </a:cubicBezTo>
                <a:lnTo>
                  <a:pt x="4584236" y="4584622"/>
                </a:lnTo>
                <a:lnTo>
                  <a:pt x="4590467" y="4573843"/>
                </a:lnTo>
                <a:cubicBezTo>
                  <a:pt x="4597795" y="4567736"/>
                  <a:pt x="4609706" y="4566514"/>
                  <a:pt x="4626810" y="4567125"/>
                </a:cubicBezTo>
                <a:cubicBezTo>
                  <a:pt x="4692779" y="4569566"/>
                  <a:pt x="4759971" y="4568344"/>
                  <a:pt x="4827160" y="4567125"/>
                </a:cubicBezTo>
                <a:cubicBezTo>
                  <a:pt x="4852815" y="4567125"/>
                  <a:pt x="4873581" y="4573232"/>
                  <a:pt x="4890685" y="4591556"/>
                </a:cubicBezTo>
                <a:cubicBezTo>
                  <a:pt x="4922450" y="4624541"/>
                  <a:pt x="4922450" y="4641643"/>
                  <a:pt x="4887021" y="4672186"/>
                </a:cubicBezTo>
                <a:cubicBezTo>
                  <a:pt x="4865031" y="4690510"/>
                  <a:pt x="4839376" y="4707614"/>
                  <a:pt x="4847929" y="4741820"/>
                </a:cubicBezTo>
                <a:cubicBezTo>
                  <a:pt x="4857700" y="4779693"/>
                  <a:pt x="4882136" y="4806567"/>
                  <a:pt x="4920006" y="4817562"/>
                </a:cubicBezTo>
                <a:cubicBezTo>
                  <a:pt x="4973756" y="4832222"/>
                  <a:pt x="5023846" y="4829780"/>
                  <a:pt x="5064161" y="4784578"/>
                </a:cubicBezTo>
                <a:cubicBezTo>
                  <a:pt x="5100811" y="4744263"/>
                  <a:pt x="5098367" y="4714943"/>
                  <a:pt x="5056831" y="4679516"/>
                </a:cubicBezTo>
                <a:cubicBezTo>
                  <a:pt x="5039730" y="4664857"/>
                  <a:pt x="5011629" y="4653861"/>
                  <a:pt x="5022625" y="4624541"/>
                </a:cubicBezTo>
                <a:cubicBezTo>
                  <a:pt x="5034842" y="4592778"/>
                  <a:pt x="5056831" y="4568344"/>
                  <a:pt x="5092258" y="4568344"/>
                </a:cubicBezTo>
                <a:cubicBezTo>
                  <a:pt x="5171666" y="4567125"/>
                  <a:pt x="5251073" y="4568344"/>
                  <a:pt x="5330479" y="4567125"/>
                </a:cubicBezTo>
                <a:cubicBezTo>
                  <a:pt x="5354913" y="4567125"/>
                  <a:pt x="5353691" y="4581784"/>
                  <a:pt x="5353691" y="4597667"/>
                </a:cubicBezTo>
                <a:cubicBezTo>
                  <a:pt x="5353691" y="4666079"/>
                  <a:pt x="5353691" y="4734491"/>
                  <a:pt x="5353691" y="4802902"/>
                </a:cubicBezTo>
                <a:cubicBezTo>
                  <a:pt x="5353691" y="4823671"/>
                  <a:pt x="5354913" y="4843218"/>
                  <a:pt x="5372016" y="4859100"/>
                </a:cubicBezTo>
                <a:cubicBezTo>
                  <a:pt x="5390340" y="4876203"/>
                  <a:pt x="5404999" y="4881089"/>
                  <a:pt x="5422104" y="4856655"/>
                </a:cubicBezTo>
                <a:cubicBezTo>
                  <a:pt x="5444093" y="4826114"/>
                  <a:pt x="5470970" y="4796794"/>
                  <a:pt x="5512505" y="4809011"/>
                </a:cubicBezTo>
                <a:cubicBezTo>
                  <a:pt x="5560149" y="4822449"/>
                  <a:pt x="5596799" y="4854213"/>
                  <a:pt x="5607793" y="4905522"/>
                </a:cubicBezTo>
                <a:cubicBezTo>
                  <a:pt x="5620010" y="4965383"/>
                  <a:pt x="5615124" y="5021578"/>
                  <a:pt x="5562593" y="5065559"/>
                </a:cubicBezTo>
                <a:cubicBezTo>
                  <a:pt x="5512505" y="5105874"/>
                  <a:pt x="5473414" y="5103431"/>
                  <a:pt x="5430656" y="5057007"/>
                </a:cubicBezTo>
                <a:cubicBezTo>
                  <a:pt x="5419660" y="5046011"/>
                  <a:pt x="5414773" y="5020357"/>
                  <a:pt x="5392783" y="5030132"/>
                </a:cubicBezTo>
                <a:cubicBezTo>
                  <a:pt x="5370794" y="5039903"/>
                  <a:pt x="5354913" y="5058228"/>
                  <a:pt x="5354913" y="5085106"/>
                </a:cubicBezTo>
                <a:cubicBezTo>
                  <a:pt x="5354913" y="5154739"/>
                  <a:pt x="5353691" y="5224372"/>
                  <a:pt x="5356135" y="5294008"/>
                </a:cubicBezTo>
                <a:lnTo>
                  <a:pt x="5350738" y="5321930"/>
                </a:lnTo>
                <a:lnTo>
                  <a:pt x="5371287" y="5318874"/>
                </a:lnTo>
                <a:cubicBezTo>
                  <a:pt x="5442143" y="5320096"/>
                  <a:pt x="5514220" y="5320096"/>
                  <a:pt x="5585072" y="5318874"/>
                </a:cubicBezTo>
                <a:cubicBezTo>
                  <a:pt x="5613173" y="5318874"/>
                  <a:pt x="5633940" y="5328648"/>
                  <a:pt x="5651043" y="5349416"/>
                </a:cubicBezTo>
                <a:cubicBezTo>
                  <a:pt x="5673032" y="5375071"/>
                  <a:pt x="5677919" y="5398281"/>
                  <a:pt x="5646155" y="5421493"/>
                </a:cubicBezTo>
                <a:cubicBezTo>
                  <a:pt x="5620503" y="5439818"/>
                  <a:pt x="5591181" y="5460587"/>
                  <a:pt x="5603399" y="5498458"/>
                </a:cubicBezTo>
                <a:cubicBezTo>
                  <a:pt x="5616836" y="5539994"/>
                  <a:pt x="5647378" y="5568092"/>
                  <a:pt x="5692578" y="5574200"/>
                </a:cubicBezTo>
                <a:cubicBezTo>
                  <a:pt x="5736560" y="5580308"/>
                  <a:pt x="5778092" y="5577865"/>
                  <a:pt x="5812299" y="5544881"/>
                </a:cubicBezTo>
                <a:cubicBezTo>
                  <a:pt x="5855056" y="5502123"/>
                  <a:pt x="5853835" y="5469139"/>
                  <a:pt x="5808637" y="5430047"/>
                </a:cubicBezTo>
                <a:cubicBezTo>
                  <a:pt x="5792754" y="5416606"/>
                  <a:pt x="5765877" y="5408054"/>
                  <a:pt x="5778092" y="5378737"/>
                </a:cubicBezTo>
                <a:cubicBezTo>
                  <a:pt x="5789088" y="5351860"/>
                  <a:pt x="5807412" y="5324983"/>
                  <a:pt x="5837954" y="5323761"/>
                </a:cubicBezTo>
                <a:cubicBezTo>
                  <a:pt x="5922246" y="5320096"/>
                  <a:pt x="6006538" y="5321318"/>
                  <a:pt x="6089611" y="5320096"/>
                </a:cubicBezTo>
                <a:cubicBezTo>
                  <a:pt x="6110381" y="5320096"/>
                  <a:pt x="6106714" y="5333534"/>
                  <a:pt x="6106714" y="5345752"/>
                </a:cubicBezTo>
                <a:cubicBezTo>
                  <a:pt x="6106714" y="5421493"/>
                  <a:pt x="6107935" y="5498458"/>
                  <a:pt x="6106714" y="5574200"/>
                </a:cubicBezTo>
                <a:cubicBezTo>
                  <a:pt x="6106714" y="5609627"/>
                  <a:pt x="6083502" y="5631617"/>
                  <a:pt x="6052963" y="5646278"/>
                </a:cubicBezTo>
                <a:cubicBezTo>
                  <a:pt x="6019978" y="5662160"/>
                  <a:pt x="6008982" y="5631617"/>
                  <a:pt x="5993101" y="5614516"/>
                </a:cubicBezTo>
                <a:cubicBezTo>
                  <a:pt x="5955231" y="5571758"/>
                  <a:pt x="5932020" y="5570536"/>
                  <a:pt x="5889264" y="5605962"/>
                </a:cubicBezTo>
                <a:cubicBezTo>
                  <a:pt x="5834290" y="5652387"/>
                  <a:pt x="5831845" y="5747674"/>
                  <a:pt x="5885598" y="5796541"/>
                </a:cubicBezTo>
                <a:cubicBezTo>
                  <a:pt x="5928355" y="5835633"/>
                  <a:pt x="5955231" y="5834411"/>
                  <a:pt x="5994323" y="5791654"/>
                </a:cubicBezTo>
                <a:cubicBezTo>
                  <a:pt x="6010204" y="5774551"/>
                  <a:pt x="6021199" y="5744009"/>
                  <a:pt x="6054184" y="5759891"/>
                </a:cubicBezTo>
                <a:cubicBezTo>
                  <a:pt x="6085947" y="5774551"/>
                  <a:pt x="6107935" y="5797761"/>
                  <a:pt x="6107935" y="5836855"/>
                </a:cubicBezTo>
                <a:cubicBezTo>
                  <a:pt x="6110381" y="5872283"/>
                  <a:pt x="6110381" y="5908933"/>
                  <a:pt x="6110381" y="5945582"/>
                </a:cubicBezTo>
                <a:cubicBezTo>
                  <a:pt x="6110381" y="5983452"/>
                  <a:pt x="6109158" y="6021324"/>
                  <a:pt x="6110381" y="6060417"/>
                </a:cubicBezTo>
                <a:lnTo>
                  <a:pt x="6106055" y="6078094"/>
                </a:lnTo>
                <a:lnTo>
                  <a:pt x="6108059" y="6078201"/>
                </a:lnTo>
                <a:cubicBezTo>
                  <a:pt x="6113937" y="6079652"/>
                  <a:pt x="6118214" y="6082172"/>
                  <a:pt x="6121268" y="6085837"/>
                </a:cubicBezTo>
                <a:lnTo>
                  <a:pt x="6125405" y="6096044"/>
                </a:lnTo>
                <a:lnTo>
                  <a:pt x="6126156" y="6094323"/>
                </a:lnTo>
                <a:cubicBezTo>
                  <a:pt x="6132418" y="6087298"/>
                  <a:pt x="6143413" y="6084855"/>
                  <a:pt x="6161736" y="6086077"/>
                </a:cubicBezTo>
                <a:cubicBezTo>
                  <a:pt x="6230149" y="6089740"/>
                  <a:pt x="6298561" y="6088520"/>
                  <a:pt x="6366973" y="6086077"/>
                </a:cubicBezTo>
                <a:cubicBezTo>
                  <a:pt x="6399958" y="6084855"/>
                  <a:pt x="6420725" y="6100737"/>
                  <a:pt x="6439050" y="6125170"/>
                </a:cubicBezTo>
                <a:cubicBezTo>
                  <a:pt x="6454932" y="6147159"/>
                  <a:pt x="6456154" y="6166707"/>
                  <a:pt x="6431720" y="6186252"/>
                </a:cubicBezTo>
                <a:cubicBezTo>
                  <a:pt x="6403623" y="6209464"/>
                  <a:pt x="6364530" y="6230232"/>
                  <a:pt x="6388963" y="6279097"/>
                </a:cubicBezTo>
                <a:cubicBezTo>
                  <a:pt x="6413395" y="6327963"/>
                  <a:pt x="6463484" y="6351176"/>
                  <a:pt x="6524567" y="6343846"/>
                </a:cubicBezTo>
                <a:cubicBezTo>
                  <a:pt x="6570989" y="6337738"/>
                  <a:pt x="6618633" y="6299866"/>
                  <a:pt x="6624741" y="6260772"/>
                </a:cubicBezTo>
                <a:cubicBezTo>
                  <a:pt x="6629628" y="6231454"/>
                  <a:pt x="6608861" y="6214349"/>
                  <a:pt x="6589314" y="6197247"/>
                </a:cubicBezTo>
                <a:cubicBezTo>
                  <a:pt x="6572211" y="6182587"/>
                  <a:pt x="6546556" y="6170372"/>
                  <a:pt x="6559994" y="6139830"/>
                </a:cubicBezTo>
                <a:cubicBezTo>
                  <a:pt x="6572211" y="6112953"/>
                  <a:pt x="6590536" y="6088520"/>
                  <a:pt x="6622298" y="6087298"/>
                </a:cubicBezTo>
                <a:cubicBezTo>
                  <a:pt x="6705370" y="6084855"/>
                  <a:pt x="6787220" y="6086077"/>
                  <a:pt x="6870294" y="6086077"/>
                </a:cubicBezTo>
                <a:lnTo>
                  <a:pt x="6878000" y="6089431"/>
                </a:lnTo>
                <a:lnTo>
                  <a:pt x="6879007" y="6086924"/>
                </a:lnTo>
                <a:lnTo>
                  <a:pt x="6877557" y="6084401"/>
                </a:lnTo>
                <a:cubicBezTo>
                  <a:pt x="6876221" y="6079209"/>
                  <a:pt x="6875763" y="6072642"/>
                  <a:pt x="6876069" y="6064396"/>
                </a:cubicBezTo>
                <a:cubicBezTo>
                  <a:pt x="6879734" y="5997205"/>
                  <a:pt x="6877291" y="5928793"/>
                  <a:pt x="6877291" y="5860381"/>
                </a:cubicBezTo>
                <a:cubicBezTo>
                  <a:pt x="6877291" y="5829839"/>
                  <a:pt x="6861409" y="5807849"/>
                  <a:pt x="6835754" y="5796854"/>
                </a:cubicBezTo>
                <a:cubicBezTo>
                  <a:pt x="6812542" y="5787081"/>
                  <a:pt x="6806435" y="5815179"/>
                  <a:pt x="6794219" y="5827396"/>
                </a:cubicBezTo>
                <a:cubicBezTo>
                  <a:pt x="6753903" y="5867710"/>
                  <a:pt x="6717253" y="5871375"/>
                  <a:pt x="6672053" y="5838391"/>
                </a:cubicBezTo>
                <a:cubicBezTo>
                  <a:pt x="6620744" y="5800519"/>
                  <a:pt x="6613414" y="5749211"/>
                  <a:pt x="6618301" y="5690570"/>
                </a:cubicBezTo>
                <a:cubicBezTo>
                  <a:pt x="6623188" y="5633153"/>
                  <a:pt x="6657393" y="5597725"/>
                  <a:pt x="6707480" y="5578181"/>
                </a:cubicBezTo>
                <a:cubicBezTo>
                  <a:pt x="6753903" y="5559855"/>
                  <a:pt x="6782002" y="5590395"/>
                  <a:pt x="6806435" y="5623380"/>
                </a:cubicBezTo>
                <a:cubicBezTo>
                  <a:pt x="6824759" y="5647814"/>
                  <a:pt x="6839419" y="5640484"/>
                  <a:pt x="6856522" y="5623380"/>
                </a:cubicBezTo>
                <a:cubicBezTo>
                  <a:pt x="6871182" y="5607498"/>
                  <a:pt x="6876069" y="5589174"/>
                  <a:pt x="6876069" y="5567184"/>
                </a:cubicBezTo>
                <a:cubicBezTo>
                  <a:pt x="6874847" y="5501214"/>
                  <a:pt x="6877291" y="5436468"/>
                  <a:pt x="6874847" y="5371720"/>
                </a:cubicBezTo>
                <a:cubicBezTo>
                  <a:pt x="6873626" y="5342401"/>
                  <a:pt x="6879734" y="5331406"/>
                  <a:pt x="6912719" y="5332627"/>
                </a:cubicBezTo>
                <a:cubicBezTo>
                  <a:pt x="6979908" y="5335071"/>
                  <a:pt x="7045878" y="5332627"/>
                  <a:pt x="7113069" y="5333849"/>
                </a:cubicBezTo>
                <a:cubicBezTo>
                  <a:pt x="7143610" y="5333849"/>
                  <a:pt x="7166822" y="5321632"/>
                  <a:pt x="7179039" y="5295978"/>
                </a:cubicBezTo>
                <a:cubicBezTo>
                  <a:pt x="7191254" y="5269101"/>
                  <a:pt x="7159492" y="5264216"/>
                  <a:pt x="7147275" y="5250776"/>
                </a:cubicBezTo>
                <a:cubicBezTo>
                  <a:pt x="7109404" y="5212905"/>
                  <a:pt x="7104517" y="5178699"/>
                  <a:pt x="7136280" y="5133498"/>
                </a:cubicBezTo>
                <a:cubicBezTo>
                  <a:pt x="7175372" y="5077303"/>
                  <a:pt x="7231569" y="5072416"/>
                  <a:pt x="7292651" y="5078525"/>
                </a:cubicBezTo>
                <a:cubicBezTo>
                  <a:pt x="7337853" y="5083410"/>
                  <a:pt x="7389162" y="5124946"/>
                  <a:pt x="7400157" y="5167705"/>
                </a:cubicBezTo>
                <a:cubicBezTo>
                  <a:pt x="7412373" y="5211683"/>
                  <a:pt x="7387940" y="5242226"/>
                  <a:pt x="7354955" y="5264216"/>
                </a:cubicBezTo>
                <a:cubicBezTo>
                  <a:pt x="7324413" y="5284983"/>
                  <a:pt x="7336631" y="5300865"/>
                  <a:pt x="7357398" y="5319191"/>
                </a:cubicBezTo>
                <a:cubicBezTo>
                  <a:pt x="7372058" y="5332627"/>
                  <a:pt x="7390383" y="5335071"/>
                  <a:pt x="7409930" y="5335071"/>
                </a:cubicBezTo>
                <a:cubicBezTo>
                  <a:pt x="7478342" y="5333849"/>
                  <a:pt x="7546754" y="5335071"/>
                  <a:pt x="7615166" y="5333849"/>
                </a:cubicBezTo>
                <a:cubicBezTo>
                  <a:pt x="7638378" y="5333849"/>
                  <a:pt x="7644486" y="5339958"/>
                  <a:pt x="7644486" y="5363168"/>
                </a:cubicBezTo>
                <a:cubicBezTo>
                  <a:pt x="7643265" y="5436468"/>
                  <a:pt x="7644486" y="5508546"/>
                  <a:pt x="7644486" y="5581843"/>
                </a:cubicBezTo>
                <a:cubicBezTo>
                  <a:pt x="7644486" y="5622159"/>
                  <a:pt x="7622498" y="5646592"/>
                  <a:pt x="7588291" y="5661252"/>
                </a:cubicBezTo>
                <a:cubicBezTo>
                  <a:pt x="7552863" y="5677133"/>
                  <a:pt x="7545534" y="5642927"/>
                  <a:pt x="7529651" y="5627045"/>
                </a:cubicBezTo>
                <a:cubicBezTo>
                  <a:pt x="7493002" y="5589174"/>
                  <a:pt x="7468569" y="5586731"/>
                  <a:pt x="7428255" y="5619716"/>
                </a:cubicBezTo>
                <a:cubicBezTo>
                  <a:pt x="7384275" y="5656366"/>
                  <a:pt x="7381832" y="5704009"/>
                  <a:pt x="7390383" y="5754097"/>
                </a:cubicBezTo>
                <a:cubicBezTo>
                  <a:pt x="7397713" y="5798076"/>
                  <a:pt x="7428255" y="5823731"/>
                  <a:pt x="7466127" y="5837169"/>
                </a:cubicBezTo>
                <a:cubicBezTo>
                  <a:pt x="7500332" y="5849386"/>
                  <a:pt x="7521101" y="5820066"/>
                  <a:pt x="7538204" y="5795633"/>
                </a:cubicBezTo>
                <a:cubicBezTo>
                  <a:pt x="7563858" y="5760204"/>
                  <a:pt x="7589513" y="5766314"/>
                  <a:pt x="7617611" y="5791968"/>
                </a:cubicBezTo>
                <a:cubicBezTo>
                  <a:pt x="7635935" y="5809071"/>
                  <a:pt x="7645708" y="5829839"/>
                  <a:pt x="7644486" y="5855493"/>
                </a:cubicBezTo>
                <a:cubicBezTo>
                  <a:pt x="7643265" y="5890921"/>
                  <a:pt x="7644486" y="5925128"/>
                  <a:pt x="7644486" y="5960555"/>
                </a:cubicBezTo>
                <a:cubicBezTo>
                  <a:pt x="7643265" y="5998427"/>
                  <a:pt x="7643265" y="6036299"/>
                  <a:pt x="7645708" y="6072947"/>
                </a:cubicBezTo>
                <a:lnTo>
                  <a:pt x="7643676" y="6091527"/>
                </a:lnTo>
                <a:lnTo>
                  <a:pt x="7645318" y="6082343"/>
                </a:lnTo>
                <a:cubicBezTo>
                  <a:pt x="7650662" y="6075776"/>
                  <a:pt x="7660435" y="6073028"/>
                  <a:pt x="7677538" y="6073639"/>
                </a:cubicBezTo>
                <a:cubicBezTo>
                  <a:pt x="7747172" y="6077304"/>
                  <a:pt x="7816806" y="6074861"/>
                  <a:pt x="7886441" y="6074861"/>
                </a:cubicBezTo>
                <a:cubicBezTo>
                  <a:pt x="7915760" y="6074861"/>
                  <a:pt x="7938970" y="6085854"/>
                  <a:pt x="7956073" y="6107844"/>
                </a:cubicBezTo>
                <a:cubicBezTo>
                  <a:pt x="7975620" y="6132276"/>
                  <a:pt x="7979285" y="6154268"/>
                  <a:pt x="7949965" y="6176258"/>
                </a:cubicBezTo>
                <a:cubicBezTo>
                  <a:pt x="7924311" y="6195803"/>
                  <a:pt x="7890105" y="6216571"/>
                  <a:pt x="7905986" y="6256885"/>
                </a:cubicBezTo>
                <a:cubicBezTo>
                  <a:pt x="7923090" y="6298422"/>
                  <a:pt x="7953630" y="6327742"/>
                  <a:pt x="8002497" y="6331407"/>
                </a:cubicBezTo>
                <a:cubicBezTo>
                  <a:pt x="8041589" y="6335072"/>
                  <a:pt x="8078239" y="6332629"/>
                  <a:pt x="8110001" y="6304530"/>
                </a:cubicBezTo>
                <a:cubicBezTo>
                  <a:pt x="8160089" y="6258108"/>
                  <a:pt x="8160089" y="6228788"/>
                  <a:pt x="8110001" y="6183586"/>
                </a:cubicBezTo>
                <a:cubicBezTo>
                  <a:pt x="8095342" y="6171371"/>
                  <a:pt x="8070909" y="6161598"/>
                  <a:pt x="8079461" y="6135943"/>
                </a:cubicBezTo>
                <a:cubicBezTo>
                  <a:pt x="8089234" y="6106623"/>
                  <a:pt x="8108779" y="6078526"/>
                  <a:pt x="8141764" y="6077304"/>
                </a:cubicBezTo>
                <a:cubicBezTo>
                  <a:pt x="8226058" y="6073639"/>
                  <a:pt x="8310352" y="6074861"/>
                  <a:pt x="8393425" y="6074861"/>
                </a:cubicBezTo>
                <a:cubicBezTo>
                  <a:pt x="8399838" y="6074861"/>
                  <a:pt x="8404037" y="6076082"/>
                  <a:pt x="8406729" y="6078106"/>
                </a:cubicBezTo>
                <a:lnTo>
                  <a:pt x="8410249" y="6084768"/>
                </a:lnTo>
                <a:lnTo>
                  <a:pt x="8414744" y="6080797"/>
                </a:lnTo>
                <a:cubicBezTo>
                  <a:pt x="8420699" y="6078506"/>
                  <a:pt x="8428640" y="6079422"/>
                  <a:pt x="8436581" y="6079422"/>
                </a:cubicBezTo>
                <a:cubicBezTo>
                  <a:pt x="8504993" y="6079422"/>
                  <a:pt x="8573405" y="6079422"/>
                  <a:pt x="8641819" y="6079422"/>
                </a:cubicBezTo>
                <a:cubicBezTo>
                  <a:pt x="8660144" y="6079422"/>
                  <a:pt x="8677247" y="6078202"/>
                  <a:pt x="8690684" y="6065984"/>
                </a:cubicBezTo>
                <a:cubicBezTo>
                  <a:pt x="8713896" y="6046439"/>
                  <a:pt x="8726112" y="6030557"/>
                  <a:pt x="8693127" y="6003680"/>
                </a:cubicBezTo>
                <a:cubicBezTo>
                  <a:pt x="8633267" y="5957258"/>
                  <a:pt x="8633267" y="5909613"/>
                  <a:pt x="8688242" y="5855861"/>
                </a:cubicBezTo>
                <a:cubicBezTo>
                  <a:pt x="8746881" y="5798443"/>
                  <a:pt x="8856828" y="5805773"/>
                  <a:pt x="8909360" y="5870521"/>
                </a:cubicBezTo>
                <a:cubicBezTo>
                  <a:pt x="8949675" y="5919386"/>
                  <a:pt x="8946010" y="5954815"/>
                  <a:pt x="8900808" y="5998795"/>
                </a:cubicBezTo>
                <a:cubicBezTo>
                  <a:pt x="8888593" y="6011010"/>
                  <a:pt x="8861716" y="6017119"/>
                  <a:pt x="8873933" y="6041552"/>
                </a:cubicBezTo>
                <a:cubicBezTo>
                  <a:pt x="8884928" y="6063542"/>
                  <a:pt x="8904473" y="6078202"/>
                  <a:pt x="8931350" y="6078202"/>
                </a:cubicBezTo>
                <a:cubicBezTo>
                  <a:pt x="8999762" y="6078202"/>
                  <a:pt x="9068174" y="6080644"/>
                  <a:pt x="9136587" y="6076979"/>
                </a:cubicBezTo>
                <a:cubicBezTo>
                  <a:pt x="9146055" y="6076369"/>
                  <a:pt x="9153537" y="6076751"/>
                  <a:pt x="9159416" y="6078201"/>
                </a:cubicBezTo>
                <a:lnTo>
                  <a:pt x="9160395" y="6078767"/>
                </a:lnTo>
                <a:lnTo>
                  <a:pt x="9159383" y="6065178"/>
                </a:lnTo>
                <a:cubicBezTo>
                  <a:pt x="9161828" y="5995543"/>
                  <a:pt x="9159383" y="5925909"/>
                  <a:pt x="9160606" y="5856275"/>
                </a:cubicBezTo>
                <a:cubicBezTo>
                  <a:pt x="9160606" y="5828177"/>
                  <a:pt x="9147168" y="5809852"/>
                  <a:pt x="9125178" y="5798859"/>
                </a:cubicBezTo>
                <a:cubicBezTo>
                  <a:pt x="9099523" y="5785420"/>
                  <a:pt x="9094636" y="5813517"/>
                  <a:pt x="9083641" y="5825735"/>
                </a:cubicBezTo>
                <a:cubicBezTo>
                  <a:pt x="9042106" y="5869714"/>
                  <a:pt x="9003012" y="5873379"/>
                  <a:pt x="8954147" y="5835507"/>
                </a:cubicBezTo>
                <a:cubicBezTo>
                  <a:pt x="8928492" y="5817184"/>
                  <a:pt x="8916275" y="5790307"/>
                  <a:pt x="8901615" y="5764652"/>
                </a:cubicBezTo>
                <a:cubicBezTo>
                  <a:pt x="8901615" y="5732890"/>
                  <a:pt x="8901615" y="5701127"/>
                  <a:pt x="8902838" y="5668142"/>
                </a:cubicBezTo>
                <a:cubicBezTo>
                  <a:pt x="8963920" y="5559415"/>
                  <a:pt x="9012786" y="5550862"/>
                  <a:pt x="9099523" y="5630271"/>
                </a:cubicBezTo>
                <a:cubicBezTo>
                  <a:pt x="9111739" y="5641266"/>
                  <a:pt x="9120291" y="5642486"/>
                  <a:pt x="9132508" y="5633936"/>
                </a:cubicBezTo>
                <a:cubicBezTo>
                  <a:pt x="9153276" y="5618054"/>
                  <a:pt x="9161828" y="5599729"/>
                  <a:pt x="9161828" y="5572855"/>
                </a:cubicBezTo>
                <a:cubicBezTo>
                  <a:pt x="9160606" y="5509327"/>
                  <a:pt x="9165493" y="5445801"/>
                  <a:pt x="9160606" y="5382276"/>
                </a:cubicBezTo>
                <a:cubicBezTo>
                  <a:pt x="9156941" y="5337075"/>
                  <a:pt x="9174043" y="5329745"/>
                  <a:pt x="9213137" y="5332188"/>
                </a:cubicBezTo>
                <a:cubicBezTo>
                  <a:pt x="9275440" y="5335853"/>
                  <a:pt x="9336524" y="5332188"/>
                  <a:pt x="9398827" y="5333410"/>
                </a:cubicBezTo>
                <a:cubicBezTo>
                  <a:pt x="9430591" y="5333410"/>
                  <a:pt x="9456246" y="5322415"/>
                  <a:pt x="9467240" y="5293094"/>
                </a:cubicBezTo>
                <a:cubicBezTo>
                  <a:pt x="9477013" y="5266220"/>
                  <a:pt x="9447693" y="5262554"/>
                  <a:pt x="9434256" y="5249118"/>
                </a:cubicBezTo>
                <a:cubicBezTo>
                  <a:pt x="9398827" y="5213689"/>
                  <a:pt x="9392719" y="5180704"/>
                  <a:pt x="9419596" y="5139169"/>
                </a:cubicBezTo>
                <a:cubicBezTo>
                  <a:pt x="9467240" y="5064646"/>
                  <a:pt x="9584518" y="5048767"/>
                  <a:pt x="9648044" y="5109848"/>
                </a:cubicBezTo>
                <a:cubicBezTo>
                  <a:pt x="9705461" y="5164823"/>
                  <a:pt x="9706684" y="5208802"/>
                  <a:pt x="9643157" y="5260110"/>
                </a:cubicBezTo>
                <a:cubicBezTo>
                  <a:pt x="9612615" y="5284544"/>
                  <a:pt x="9622389" y="5300426"/>
                  <a:pt x="9644379" y="5319971"/>
                </a:cubicBezTo>
                <a:cubicBezTo>
                  <a:pt x="9660261" y="5333410"/>
                  <a:pt x="9678584" y="5334631"/>
                  <a:pt x="9698131" y="5334631"/>
                </a:cubicBezTo>
                <a:cubicBezTo>
                  <a:pt x="9766544" y="5334631"/>
                  <a:pt x="9834956" y="5335853"/>
                  <a:pt x="9903370" y="5334631"/>
                </a:cubicBezTo>
                <a:cubicBezTo>
                  <a:pt x="9917113" y="5334631"/>
                  <a:pt x="9926046" y="5336007"/>
                  <a:pt x="9929654" y="5346485"/>
                </a:cubicBezTo>
                <a:lnTo>
                  <a:pt x="9930724" y="5354628"/>
                </a:lnTo>
                <a:lnTo>
                  <a:pt x="9932264" y="5354628"/>
                </a:lnTo>
                <a:lnTo>
                  <a:pt x="9932800" y="5349644"/>
                </a:lnTo>
                <a:cubicBezTo>
                  <a:pt x="9935434" y="5343481"/>
                  <a:pt x="9940130" y="5339572"/>
                  <a:pt x="9947918" y="5337597"/>
                </a:cubicBezTo>
                <a:lnTo>
                  <a:pt x="9951318" y="5337347"/>
                </a:lnTo>
                <a:lnTo>
                  <a:pt x="9952291" y="5335521"/>
                </a:lnTo>
                <a:lnTo>
                  <a:pt x="9934946" y="5330599"/>
                </a:lnTo>
                <a:cubicBezTo>
                  <a:pt x="9931128" y="5326323"/>
                  <a:pt x="9930211" y="5319604"/>
                  <a:pt x="9930821" y="5309831"/>
                </a:cubicBezTo>
                <a:cubicBezTo>
                  <a:pt x="9932044" y="5235310"/>
                  <a:pt x="9932044" y="5160790"/>
                  <a:pt x="9930821" y="5086269"/>
                </a:cubicBezTo>
                <a:cubicBezTo>
                  <a:pt x="9930821" y="5052061"/>
                  <a:pt x="9950369" y="5030071"/>
                  <a:pt x="9976023" y="5012969"/>
                </a:cubicBezTo>
                <a:cubicBezTo>
                  <a:pt x="9993126" y="5001974"/>
                  <a:pt x="10009008" y="5003196"/>
                  <a:pt x="10026111" y="5020300"/>
                </a:cubicBezTo>
                <a:cubicBezTo>
                  <a:pt x="10092080" y="5086269"/>
                  <a:pt x="10106740" y="5088711"/>
                  <a:pt x="10151942" y="5045954"/>
                </a:cubicBezTo>
                <a:cubicBezTo>
                  <a:pt x="10198364" y="5001974"/>
                  <a:pt x="10203251" y="4916459"/>
                  <a:pt x="10160492" y="4868816"/>
                </a:cubicBezTo>
                <a:cubicBezTo>
                  <a:pt x="10115292" y="4817505"/>
                  <a:pt x="10084750" y="4817505"/>
                  <a:pt x="10039550" y="4867593"/>
                </a:cubicBezTo>
                <a:cubicBezTo>
                  <a:pt x="10026111" y="4882253"/>
                  <a:pt x="10017560" y="4907907"/>
                  <a:pt x="9987018" y="4895690"/>
                </a:cubicBezTo>
                <a:cubicBezTo>
                  <a:pt x="9956476" y="4883475"/>
                  <a:pt x="9933266" y="4863928"/>
                  <a:pt x="9932044" y="4830943"/>
                </a:cubicBezTo>
                <a:cubicBezTo>
                  <a:pt x="9929601" y="4750316"/>
                  <a:pt x="9930821" y="4669686"/>
                  <a:pt x="9929601" y="4587835"/>
                </a:cubicBezTo>
                <a:cubicBezTo>
                  <a:pt x="9929601" y="4564624"/>
                  <a:pt x="9944261" y="4568288"/>
                  <a:pt x="9957699" y="4568288"/>
                </a:cubicBezTo>
                <a:cubicBezTo>
                  <a:pt x="10024890" y="4568288"/>
                  <a:pt x="10090860" y="4568288"/>
                  <a:pt x="10158050" y="4568288"/>
                </a:cubicBezTo>
                <a:cubicBezTo>
                  <a:pt x="10173932" y="4568288"/>
                  <a:pt x="10189812" y="4569509"/>
                  <a:pt x="10204472" y="4560959"/>
                </a:cubicBezTo>
                <a:cubicBezTo>
                  <a:pt x="10241122" y="4540189"/>
                  <a:pt x="10243566" y="4520644"/>
                  <a:pt x="10213024" y="4493768"/>
                </a:cubicBezTo>
                <a:cubicBezTo>
                  <a:pt x="10155607" y="4442457"/>
                  <a:pt x="10154385" y="4398478"/>
                  <a:pt x="10209359" y="4345948"/>
                </a:cubicBezTo>
                <a:cubicBezTo>
                  <a:pt x="10239900" y="4316628"/>
                  <a:pt x="10283268" y="4304412"/>
                  <a:pt x="10325263" y="4307925"/>
                </a:cubicBezTo>
                <a:cubicBezTo>
                  <a:pt x="10367257" y="4311436"/>
                  <a:pt x="10407876" y="4330677"/>
                  <a:pt x="10432920" y="4364272"/>
                </a:cubicBezTo>
                <a:cubicBezTo>
                  <a:pt x="10467127" y="4409475"/>
                  <a:pt x="10462240" y="4447344"/>
                  <a:pt x="10423148" y="4486437"/>
                </a:cubicBezTo>
                <a:cubicBezTo>
                  <a:pt x="10410932" y="4498655"/>
                  <a:pt x="10377948" y="4502319"/>
                  <a:pt x="10393828" y="4531639"/>
                </a:cubicBezTo>
                <a:cubicBezTo>
                  <a:pt x="10407266" y="4557294"/>
                  <a:pt x="10429257" y="4569509"/>
                  <a:pt x="10459798" y="4569509"/>
                </a:cubicBezTo>
                <a:cubicBezTo>
                  <a:pt x="10526989" y="4568288"/>
                  <a:pt x="10592957" y="4570731"/>
                  <a:pt x="10660149" y="4568288"/>
                </a:cubicBezTo>
                <a:cubicBezTo>
                  <a:pt x="10690691" y="4567067"/>
                  <a:pt x="10701684" y="4574397"/>
                  <a:pt x="10700463" y="4607381"/>
                </a:cubicBezTo>
                <a:cubicBezTo>
                  <a:pt x="10698020" y="4672129"/>
                  <a:pt x="10699241" y="4738097"/>
                  <a:pt x="10699241" y="4802845"/>
                </a:cubicBezTo>
                <a:cubicBezTo>
                  <a:pt x="10699241" y="4830943"/>
                  <a:pt x="10693133" y="4855378"/>
                  <a:pt x="10672366" y="4876145"/>
                </a:cubicBezTo>
                <a:cubicBezTo>
                  <a:pt x="10640602" y="4907907"/>
                  <a:pt x="10621056" y="4906687"/>
                  <a:pt x="10591736" y="4872480"/>
                </a:cubicBezTo>
                <a:cubicBezTo>
                  <a:pt x="10572189" y="4850489"/>
                  <a:pt x="10553864" y="4819948"/>
                  <a:pt x="10518437" y="4833387"/>
                </a:cubicBezTo>
                <a:cubicBezTo>
                  <a:pt x="10479345" y="4848047"/>
                  <a:pt x="10450025" y="4873702"/>
                  <a:pt x="10443915" y="4917681"/>
                </a:cubicBezTo>
                <a:cubicBezTo>
                  <a:pt x="10436587" y="4970212"/>
                  <a:pt x="10439030" y="5019078"/>
                  <a:pt x="10486675" y="5054507"/>
                </a:cubicBezTo>
                <a:cubicBezTo>
                  <a:pt x="10525767" y="5083825"/>
                  <a:pt x="10547757" y="5081381"/>
                  <a:pt x="10580742" y="5045954"/>
                </a:cubicBezTo>
                <a:cubicBezTo>
                  <a:pt x="10597844" y="5027629"/>
                  <a:pt x="10607617" y="4993424"/>
                  <a:pt x="10643046" y="5009304"/>
                </a:cubicBezTo>
                <a:cubicBezTo>
                  <a:pt x="10677251" y="5023964"/>
                  <a:pt x="10698020" y="5052061"/>
                  <a:pt x="10699241" y="5089935"/>
                </a:cubicBezTo>
                <a:cubicBezTo>
                  <a:pt x="10700463" y="5163234"/>
                  <a:pt x="10699241" y="5236532"/>
                  <a:pt x="10700463" y="5308610"/>
                </a:cubicBezTo>
                <a:lnTo>
                  <a:pt x="10695953" y="5325919"/>
                </a:lnTo>
                <a:lnTo>
                  <a:pt x="10695953" y="5342506"/>
                </a:lnTo>
                <a:lnTo>
                  <a:pt x="10697005" y="5340688"/>
                </a:lnTo>
                <a:cubicBezTo>
                  <a:pt x="10705709" y="5333510"/>
                  <a:pt x="10719758" y="5332289"/>
                  <a:pt x="10739305" y="5333510"/>
                </a:cubicBezTo>
                <a:cubicBezTo>
                  <a:pt x="10801608" y="5337175"/>
                  <a:pt x="10862692" y="5333510"/>
                  <a:pt x="10924995" y="5334732"/>
                </a:cubicBezTo>
                <a:cubicBezTo>
                  <a:pt x="10956759" y="5334732"/>
                  <a:pt x="10982414" y="5323737"/>
                  <a:pt x="10993408" y="5294417"/>
                </a:cubicBezTo>
                <a:cubicBezTo>
                  <a:pt x="11003181" y="5267541"/>
                  <a:pt x="10973861" y="5263877"/>
                  <a:pt x="10960424" y="5250439"/>
                </a:cubicBezTo>
                <a:cubicBezTo>
                  <a:pt x="10924995" y="5215009"/>
                  <a:pt x="10918887" y="5182026"/>
                  <a:pt x="10945764" y="5140490"/>
                </a:cubicBezTo>
                <a:cubicBezTo>
                  <a:pt x="10993408" y="5065968"/>
                  <a:pt x="11110686" y="5050088"/>
                  <a:pt x="11174212" y="5111172"/>
                </a:cubicBezTo>
                <a:cubicBezTo>
                  <a:pt x="11231629" y="5166144"/>
                  <a:pt x="11232852" y="5210124"/>
                  <a:pt x="11169325" y="5261432"/>
                </a:cubicBezTo>
                <a:cubicBezTo>
                  <a:pt x="11138783" y="5285866"/>
                  <a:pt x="11148557" y="5301748"/>
                  <a:pt x="11170547" y="5321293"/>
                </a:cubicBezTo>
                <a:cubicBezTo>
                  <a:pt x="11186429" y="5334732"/>
                  <a:pt x="11204752" y="5335954"/>
                  <a:pt x="11224299" y="5335954"/>
                </a:cubicBezTo>
                <a:cubicBezTo>
                  <a:pt x="11292712" y="5335954"/>
                  <a:pt x="11361124" y="5337175"/>
                  <a:pt x="11429538" y="5335954"/>
                </a:cubicBezTo>
                <a:cubicBezTo>
                  <a:pt x="11447862" y="5335954"/>
                  <a:pt x="11457635" y="5338397"/>
                  <a:pt x="11457635" y="5361608"/>
                </a:cubicBezTo>
                <a:cubicBezTo>
                  <a:pt x="11456413" y="5436129"/>
                  <a:pt x="11457635" y="5510649"/>
                  <a:pt x="11456413" y="5585169"/>
                </a:cubicBezTo>
                <a:cubicBezTo>
                  <a:pt x="11455192" y="5623042"/>
                  <a:pt x="11433202" y="5648697"/>
                  <a:pt x="11397773" y="5663355"/>
                </a:cubicBezTo>
                <a:cubicBezTo>
                  <a:pt x="11362346" y="5676794"/>
                  <a:pt x="11356238" y="5645031"/>
                  <a:pt x="11340356" y="5627928"/>
                </a:cubicBezTo>
                <a:cubicBezTo>
                  <a:pt x="11304929" y="5590057"/>
                  <a:pt x="11282939" y="5587614"/>
                  <a:pt x="11242624" y="5618154"/>
                </a:cubicBezTo>
                <a:cubicBezTo>
                  <a:pt x="11203532" y="5647475"/>
                  <a:pt x="11196202" y="5686566"/>
                  <a:pt x="11198645" y="5731767"/>
                </a:cubicBezTo>
                <a:cubicBezTo>
                  <a:pt x="11201089" y="5781856"/>
                  <a:pt x="11227964" y="5823392"/>
                  <a:pt x="11271944" y="5838051"/>
                </a:cubicBezTo>
                <a:cubicBezTo>
                  <a:pt x="11313481" y="5852711"/>
                  <a:pt x="11333026" y="5820947"/>
                  <a:pt x="11352573" y="5795294"/>
                </a:cubicBezTo>
                <a:cubicBezTo>
                  <a:pt x="11377006" y="5764752"/>
                  <a:pt x="11400218" y="5769639"/>
                  <a:pt x="11424650" y="5791629"/>
                </a:cubicBezTo>
                <a:cubicBezTo>
                  <a:pt x="11445418" y="5809954"/>
                  <a:pt x="11457635" y="5833164"/>
                  <a:pt x="11456413" y="5862484"/>
                </a:cubicBezTo>
                <a:cubicBezTo>
                  <a:pt x="11455192" y="5906464"/>
                  <a:pt x="11456413" y="5951665"/>
                  <a:pt x="11456413" y="5995645"/>
                </a:cubicBezTo>
                <a:cubicBezTo>
                  <a:pt x="11456413" y="6035959"/>
                  <a:pt x="11456413" y="6061155"/>
                  <a:pt x="11450808" y="6076903"/>
                </a:cubicBezTo>
                <a:lnTo>
                  <a:pt x="11443434" y="6089200"/>
                </a:lnTo>
                <a:lnTo>
                  <a:pt x="11447629" y="6089179"/>
                </a:lnTo>
                <a:lnTo>
                  <a:pt x="11460380" y="6094729"/>
                </a:lnTo>
                <a:lnTo>
                  <a:pt x="11461414" y="6089396"/>
                </a:lnTo>
                <a:cubicBezTo>
                  <a:pt x="11466607" y="6083288"/>
                  <a:pt x="11475769" y="6080844"/>
                  <a:pt x="11491039" y="6081456"/>
                </a:cubicBezTo>
                <a:cubicBezTo>
                  <a:pt x="11555788" y="6083898"/>
                  <a:pt x="11621755" y="6082676"/>
                  <a:pt x="11686503" y="6082676"/>
                </a:cubicBezTo>
                <a:cubicBezTo>
                  <a:pt x="11702385" y="6082676"/>
                  <a:pt x="11718267" y="6082676"/>
                  <a:pt x="11732927" y="6074124"/>
                </a:cubicBezTo>
                <a:cubicBezTo>
                  <a:pt x="11768354" y="6055799"/>
                  <a:pt x="11770797" y="6033811"/>
                  <a:pt x="11741477" y="6008156"/>
                </a:cubicBezTo>
                <a:cubicBezTo>
                  <a:pt x="11715824" y="5986166"/>
                  <a:pt x="11688947" y="5961732"/>
                  <a:pt x="11698720" y="5923862"/>
                </a:cubicBezTo>
                <a:cubicBezTo>
                  <a:pt x="11710937" y="5878660"/>
                  <a:pt x="11741477" y="5844455"/>
                  <a:pt x="11785457" y="5829795"/>
                </a:cubicBezTo>
                <a:cubicBezTo>
                  <a:pt x="11801644" y="5823992"/>
                  <a:pt x="11818289" y="5821014"/>
                  <a:pt x="11834763" y="5820594"/>
                </a:cubicBezTo>
                <a:cubicBezTo>
                  <a:pt x="11884183" y="5819334"/>
                  <a:pt x="11932056" y="5841095"/>
                  <a:pt x="11961375" y="5878660"/>
                </a:cubicBezTo>
                <a:cubicBezTo>
                  <a:pt x="11998025" y="5925083"/>
                  <a:pt x="11993137" y="5961732"/>
                  <a:pt x="11949158" y="6003269"/>
                </a:cubicBezTo>
                <a:cubicBezTo>
                  <a:pt x="11936942" y="6014264"/>
                  <a:pt x="11910065" y="6019151"/>
                  <a:pt x="11922283" y="6046026"/>
                </a:cubicBezTo>
                <a:cubicBezTo>
                  <a:pt x="11934500" y="6070461"/>
                  <a:pt x="11956488" y="6082676"/>
                  <a:pt x="11983365" y="6082676"/>
                </a:cubicBezTo>
                <a:cubicBezTo>
                  <a:pt x="12050556" y="6082676"/>
                  <a:pt x="12116524" y="6085121"/>
                  <a:pt x="12183716" y="6081456"/>
                </a:cubicBezTo>
                <a:lnTo>
                  <a:pt x="12191999" y="6083007"/>
                </a:lnTo>
                <a:lnTo>
                  <a:pt x="12191999" y="6858000"/>
                </a:lnTo>
                <a:lnTo>
                  <a:pt x="0" y="6858000"/>
                </a:lnTo>
                <a:close/>
              </a:path>
            </a:pathLst>
          </a:custGeom>
          <a:solidFill>
            <a:schemeClr val="bg1">
              <a:lumMod val="95000"/>
            </a:schemeClr>
          </a:solidFill>
          <a:ln w="12700">
            <a:noFill/>
          </a:ln>
        </p:spPr>
        <p:txBody>
          <a:bodyPr wrap="square" anchor="ctr">
            <a:noAutofit/>
          </a:bodyPr>
          <a:lstStyle>
            <a:lvl1pPr marL="0" indent="0" algn="ctr">
              <a:buNone/>
              <a:defRPr sz="1200">
                <a:solidFill>
                  <a:schemeClr val="tx1">
                    <a:lumMod val="75000"/>
                    <a:lumOff val="25000"/>
                  </a:schemeClr>
                </a:solidFill>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 </a:t>
            </a:r>
            <a:endParaRPr lang="ko-KR" altLang="en-US" dirty="0"/>
          </a:p>
        </p:txBody>
      </p:sp>
    </p:spTree>
    <p:extLst>
      <p:ext uri="{BB962C8B-B14F-4D97-AF65-F5344CB8AC3E}">
        <p14:creationId xmlns:p14="http://schemas.microsoft.com/office/powerpoint/2010/main" val="40233266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75657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11" name="Picture Placeholder 2"/>
          <p:cNvSpPr>
            <a:spLocks noGrp="1"/>
          </p:cNvSpPr>
          <p:nvPr>
            <p:ph type="pic" idx="12" hasCustomPrompt="1"/>
          </p:nvPr>
        </p:nvSpPr>
        <p:spPr>
          <a:xfrm>
            <a:off x="4630867" y="-8359"/>
            <a:ext cx="3840000" cy="6866359"/>
          </a:xfrm>
          <a:prstGeom prst="rect">
            <a:avLst/>
          </a:prstGeom>
          <a:solidFill>
            <a:schemeClr val="bg1">
              <a:lumMod val="95000"/>
            </a:schemeClr>
          </a:solidFill>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a:t>
            </a:r>
            <a:endParaRPr lang="ko-KR" altLang="en-US" dirty="0"/>
          </a:p>
        </p:txBody>
      </p:sp>
      <p:sp>
        <p:nvSpPr>
          <p:cNvPr id="8" name="Right Triangle 7"/>
          <p:cNvSpPr/>
          <p:nvPr userDrawn="1"/>
        </p:nvSpPr>
        <p:spPr>
          <a:xfrm rot="5400000">
            <a:off x="138000" y="-138000"/>
            <a:ext cx="828000" cy="1104000"/>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4" name="Rectangle 3"/>
          <p:cNvSpPr/>
          <p:nvPr userDrawn="1"/>
        </p:nvSpPr>
        <p:spPr>
          <a:xfrm>
            <a:off x="8445501" y="0"/>
            <a:ext cx="37465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Tree>
    <p:extLst>
      <p:ext uri="{BB962C8B-B14F-4D97-AF65-F5344CB8AC3E}">
        <p14:creationId xmlns:p14="http://schemas.microsoft.com/office/powerpoint/2010/main" val="6414925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2124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44967-3BD7-4684-B927-271DF51BC1D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AAC769-0AA9-4FA9-890E-1BF4E838DB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1A628E-CED8-4BB8-AEEF-E7503A92CB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5B0D1F-427C-4D21-BC44-8CB007B49A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9B2ADE-B8AB-4BAF-8406-E840E2701E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1C7838-429E-497B-BD6A-D88422C61C6B}"/>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8" name="Footer Placeholder 7">
            <a:extLst>
              <a:ext uri="{FF2B5EF4-FFF2-40B4-BE49-F238E27FC236}">
                <a16:creationId xmlns:a16="http://schemas.microsoft.com/office/drawing/2014/main" id="{A8556492-65A6-409C-9786-0B51D14D28F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E5B39A-FFD8-4B96-ABFB-A9EE3894922F}"/>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36571246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Contents slide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4E1E246-B5BD-440F-A7E2-CFA4B819B5D0}"/>
              </a:ext>
            </a:extLst>
          </p:cNvPr>
          <p:cNvGrpSpPr/>
          <p:nvPr userDrawn="1"/>
        </p:nvGrpSpPr>
        <p:grpSpPr>
          <a:xfrm>
            <a:off x="7405924" y="441839"/>
            <a:ext cx="3829032" cy="4683741"/>
            <a:chOff x="6446339" y="1280897"/>
            <a:chExt cx="4320717" cy="5285178"/>
          </a:xfrm>
        </p:grpSpPr>
        <p:sp>
          <p:nvSpPr>
            <p:cNvPr id="4" name="Freeform: Shape 3">
              <a:extLst>
                <a:ext uri="{FF2B5EF4-FFF2-40B4-BE49-F238E27FC236}">
                  <a16:creationId xmlns:a16="http://schemas.microsoft.com/office/drawing/2014/main" id="{15C624F9-1D25-454B-99E6-F39BA29B9FC6}"/>
                </a:ext>
              </a:extLst>
            </p:cNvPr>
            <p:cNvSpPr/>
            <p:nvPr/>
          </p:nvSpPr>
          <p:spPr>
            <a:xfrm>
              <a:off x="7360122" y="5629227"/>
              <a:ext cx="2033648" cy="936848"/>
            </a:xfrm>
            <a:custGeom>
              <a:avLst/>
              <a:gdLst>
                <a:gd name="connsiteX0" fmla="*/ 448273 w 847725"/>
                <a:gd name="connsiteY0" fmla="*/ 7144 h 390525"/>
                <a:gd name="connsiteX1" fmla="*/ 464466 w 847725"/>
                <a:gd name="connsiteY1" fmla="*/ 184309 h 390525"/>
                <a:gd name="connsiteX2" fmla="*/ 452083 w 847725"/>
                <a:gd name="connsiteY2" fmla="*/ 224314 h 390525"/>
                <a:gd name="connsiteX3" fmla="*/ 352071 w 847725"/>
                <a:gd name="connsiteY3" fmla="*/ 269081 h 390525"/>
                <a:gd name="connsiteX4" fmla="*/ 30126 w 847725"/>
                <a:gd name="connsiteY4" fmla="*/ 283369 h 390525"/>
                <a:gd name="connsiteX5" fmla="*/ 7266 w 847725"/>
                <a:gd name="connsiteY5" fmla="*/ 285274 h 390525"/>
                <a:gd name="connsiteX6" fmla="*/ 12981 w 847725"/>
                <a:gd name="connsiteY6" fmla="*/ 292894 h 390525"/>
                <a:gd name="connsiteX7" fmla="*/ 439701 w 847725"/>
                <a:gd name="connsiteY7" fmla="*/ 384334 h 390525"/>
                <a:gd name="connsiteX8" fmla="*/ 455893 w 847725"/>
                <a:gd name="connsiteY8" fmla="*/ 385286 h 390525"/>
                <a:gd name="connsiteX9" fmla="*/ 829273 w 847725"/>
                <a:gd name="connsiteY9" fmla="*/ 321469 h 390525"/>
                <a:gd name="connsiteX10" fmla="*/ 797841 w 847725"/>
                <a:gd name="connsiteY10" fmla="*/ 52864 h 390525"/>
                <a:gd name="connsiteX11" fmla="*/ 448273 w 847725"/>
                <a:gd name="connsiteY11"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7725" h="390525">
                  <a:moveTo>
                    <a:pt x="448273" y="7144"/>
                  </a:moveTo>
                  <a:cubicBezTo>
                    <a:pt x="460656" y="89059"/>
                    <a:pt x="469228" y="136684"/>
                    <a:pt x="464466" y="184309"/>
                  </a:cubicBezTo>
                  <a:cubicBezTo>
                    <a:pt x="463513" y="196691"/>
                    <a:pt x="460656" y="208121"/>
                    <a:pt x="452083" y="224314"/>
                  </a:cubicBezTo>
                  <a:cubicBezTo>
                    <a:pt x="433033" y="261461"/>
                    <a:pt x="379693" y="268129"/>
                    <a:pt x="352071" y="269081"/>
                  </a:cubicBezTo>
                  <a:cubicBezTo>
                    <a:pt x="256821" y="270986"/>
                    <a:pt x="63463" y="282416"/>
                    <a:pt x="30126" y="283369"/>
                  </a:cubicBezTo>
                  <a:cubicBezTo>
                    <a:pt x="26316" y="283369"/>
                    <a:pt x="5361" y="283369"/>
                    <a:pt x="7266" y="285274"/>
                  </a:cubicBezTo>
                  <a:cubicBezTo>
                    <a:pt x="8218" y="286226"/>
                    <a:pt x="12981" y="292894"/>
                    <a:pt x="12981" y="292894"/>
                  </a:cubicBezTo>
                  <a:cubicBezTo>
                    <a:pt x="24411" y="308134"/>
                    <a:pt x="381598" y="373856"/>
                    <a:pt x="439701" y="384334"/>
                  </a:cubicBezTo>
                  <a:cubicBezTo>
                    <a:pt x="445416" y="385286"/>
                    <a:pt x="450178" y="385286"/>
                    <a:pt x="455893" y="385286"/>
                  </a:cubicBezTo>
                  <a:cubicBezTo>
                    <a:pt x="508281" y="381476"/>
                    <a:pt x="794983" y="355759"/>
                    <a:pt x="829273" y="321469"/>
                  </a:cubicBezTo>
                  <a:cubicBezTo>
                    <a:pt x="870231" y="279559"/>
                    <a:pt x="827368" y="142399"/>
                    <a:pt x="797841" y="52864"/>
                  </a:cubicBezTo>
                  <a:cubicBezTo>
                    <a:pt x="810223" y="42386"/>
                    <a:pt x="634963" y="21431"/>
                    <a:pt x="448273" y="7144"/>
                  </a:cubicBezTo>
                  <a:close/>
                </a:path>
              </a:pathLst>
            </a:custGeom>
            <a:solidFill>
              <a:srgbClr val="B3B3B3"/>
            </a:solid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F61AEE79-AB63-4603-9494-0E1B03AC40BD}"/>
                </a:ext>
              </a:extLst>
            </p:cNvPr>
            <p:cNvSpPr/>
            <p:nvPr/>
          </p:nvSpPr>
          <p:spPr>
            <a:xfrm>
              <a:off x="7358820" y="5629227"/>
              <a:ext cx="1987948" cy="913998"/>
            </a:xfrm>
            <a:custGeom>
              <a:avLst/>
              <a:gdLst>
                <a:gd name="connsiteX0" fmla="*/ 436434 w 828675"/>
                <a:gd name="connsiteY0" fmla="*/ 7144 h 381000"/>
                <a:gd name="connsiteX1" fmla="*/ 452626 w 828675"/>
                <a:gd name="connsiteY1" fmla="*/ 178594 h 381000"/>
                <a:gd name="connsiteX2" fmla="*/ 440244 w 828675"/>
                <a:gd name="connsiteY2" fmla="*/ 217646 h 381000"/>
                <a:gd name="connsiteX3" fmla="*/ 342136 w 828675"/>
                <a:gd name="connsiteY3" fmla="*/ 260509 h 381000"/>
                <a:gd name="connsiteX4" fmla="*/ 11619 w 828675"/>
                <a:gd name="connsiteY4" fmla="*/ 281464 h 381000"/>
                <a:gd name="connsiteX5" fmla="*/ 428814 w 828675"/>
                <a:gd name="connsiteY5" fmla="*/ 372904 h 381000"/>
                <a:gd name="connsiteX6" fmla="*/ 444054 w 828675"/>
                <a:gd name="connsiteY6" fmla="*/ 373856 h 381000"/>
                <a:gd name="connsiteX7" fmla="*/ 813624 w 828675"/>
                <a:gd name="connsiteY7" fmla="*/ 311944 h 381000"/>
                <a:gd name="connsiteX8" fmla="*/ 782191 w 828675"/>
                <a:gd name="connsiteY8" fmla="*/ 52864 h 381000"/>
                <a:gd name="connsiteX9" fmla="*/ 436434 w 828675"/>
                <a:gd name="connsiteY9" fmla="*/ 71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675" h="381000">
                  <a:moveTo>
                    <a:pt x="436434" y="7144"/>
                  </a:moveTo>
                  <a:cubicBezTo>
                    <a:pt x="448816" y="86201"/>
                    <a:pt x="457389" y="131921"/>
                    <a:pt x="452626" y="178594"/>
                  </a:cubicBezTo>
                  <a:cubicBezTo>
                    <a:pt x="451674" y="190976"/>
                    <a:pt x="448816" y="201454"/>
                    <a:pt x="440244" y="217646"/>
                  </a:cubicBezTo>
                  <a:cubicBezTo>
                    <a:pt x="421194" y="252889"/>
                    <a:pt x="367854" y="260509"/>
                    <a:pt x="342136" y="260509"/>
                  </a:cubicBezTo>
                  <a:cubicBezTo>
                    <a:pt x="269746" y="262414"/>
                    <a:pt x="43051" y="274796"/>
                    <a:pt x="11619" y="281464"/>
                  </a:cubicBezTo>
                  <a:cubicBezTo>
                    <a:pt x="-39816" y="292894"/>
                    <a:pt x="367854" y="362426"/>
                    <a:pt x="428814" y="372904"/>
                  </a:cubicBezTo>
                  <a:cubicBezTo>
                    <a:pt x="433576" y="373856"/>
                    <a:pt x="439291" y="373856"/>
                    <a:pt x="444054" y="373856"/>
                  </a:cubicBezTo>
                  <a:cubicBezTo>
                    <a:pt x="494536" y="370046"/>
                    <a:pt x="779334" y="346234"/>
                    <a:pt x="813624" y="311944"/>
                  </a:cubicBezTo>
                  <a:cubicBezTo>
                    <a:pt x="853629" y="271939"/>
                    <a:pt x="811719" y="139541"/>
                    <a:pt x="782191" y="52864"/>
                  </a:cubicBezTo>
                  <a:cubicBezTo>
                    <a:pt x="793621" y="41434"/>
                    <a:pt x="620266" y="20479"/>
                    <a:pt x="436434" y="7144"/>
                  </a:cubicBezTo>
                  <a:close/>
                </a:path>
              </a:pathLst>
            </a:custGeom>
            <a:solidFill>
              <a:srgbClr val="CCCCCC"/>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3B0C109B-7A7A-4CDA-8462-7695DB503E29}"/>
                </a:ext>
              </a:extLst>
            </p:cNvPr>
            <p:cNvSpPr/>
            <p:nvPr/>
          </p:nvSpPr>
          <p:spPr>
            <a:xfrm>
              <a:off x="6448412" y="1280897"/>
              <a:ext cx="4318644" cy="4592842"/>
            </a:xfrm>
            <a:custGeom>
              <a:avLst/>
              <a:gdLst>
                <a:gd name="connsiteX0" fmla="*/ 1610322 w 1800225"/>
                <a:gd name="connsiteY0" fmla="*/ 1912136 h 1914525"/>
                <a:gd name="connsiteX1" fmla="*/ 53937 w 1800225"/>
                <a:gd name="connsiteY1" fmla="*/ 1736876 h 1914525"/>
                <a:gd name="connsiteX2" fmla="*/ 7264 w 1800225"/>
                <a:gd name="connsiteY2" fmla="*/ 1681631 h 1914525"/>
                <a:gd name="connsiteX3" fmla="*/ 66319 w 1800225"/>
                <a:gd name="connsiteY3" fmla="*/ 529106 h 1914525"/>
                <a:gd name="connsiteX4" fmla="*/ 107277 w 1800225"/>
                <a:gd name="connsiteY4" fmla="*/ 432903 h 1914525"/>
                <a:gd name="connsiteX5" fmla="*/ 1729384 w 1800225"/>
                <a:gd name="connsiteY5" fmla="*/ 9041 h 1914525"/>
                <a:gd name="connsiteX6" fmla="*/ 1797012 w 1800225"/>
                <a:gd name="connsiteY6" fmla="*/ 63333 h 1914525"/>
                <a:gd name="connsiteX7" fmla="*/ 1691284 w 1800225"/>
                <a:gd name="connsiteY7" fmla="*/ 1844508 h 1914525"/>
                <a:gd name="connsiteX8" fmla="*/ 1610322 w 1800225"/>
                <a:gd name="connsiteY8" fmla="*/ 1912136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0225" h="1914525">
                  <a:moveTo>
                    <a:pt x="1610322" y="1912136"/>
                  </a:moveTo>
                  <a:lnTo>
                    <a:pt x="53937" y="1736876"/>
                  </a:lnTo>
                  <a:cubicBezTo>
                    <a:pt x="26314" y="1734018"/>
                    <a:pt x="5359" y="1709253"/>
                    <a:pt x="7264" y="1681631"/>
                  </a:cubicBezTo>
                  <a:lnTo>
                    <a:pt x="66319" y="529106"/>
                  </a:lnTo>
                  <a:cubicBezTo>
                    <a:pt x="68224" y="458621"/>
                    <a:pt x="84417" y="438618"/>
                    <a:pt x="107277" y="432903"/>
                  </a:cubicBezTo>
                  <a:lnTo>
                    <a:pt x="1729384" y="9041"/>
                  </a:lnTo>
                  <a:cubicBezTo>
                    <a:pt x="1764627" y="-484"/>
                    <a:pt x="1798917" y="27138"/>
                    <a:pt x="1797012" y="63333"/>
                  </a:cubicBezTo>
                  <a:lnTo>
                    <a:pt x="1691284" y="1844508"/>
                  </a:lnTo>
                  <a:cubicBezTo>
                    <a:pt x="1687474" y="1885466"/>
                    <a:pt x="1651279" y="1915946"/>
                    <a:pt x="1610322" y="1912136"/>
                  </a:cubicBezTo>
                  <a:close/>
                </a:path>
              </a:pathLst>
            </a:custGeom>
            <a:solidFill>
              <a:srgbClr val="CCCCCC"/>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73631643-770C-4A9C-AA33-D3DC13268E34}"/>
                </a:ext>
              </a:extLst>
            </p:cNvPr>
            <p:cNvSpPr/>
            <p:nvPr/>
          </p:nvSpPr>
          <p:spPr>
            <a:xfrm>
              <a:off x="6464696" y="1280897"/>
              <a:ext cx="4250094" cy="3998744"/>
            </a:xfrm>
            <a:custGeom>
              <a:avLst/>
              <a:gdLst>
                <a:gd name="connsiteX0" fmla="*/ 1678781 w 1771650"/>
                <a:gd name="connsiteY0" fmla="*/ 1664486 h 1666875"/>
                <a:gd name="connsiteX1" fmla="*/ 7144 w 1771650"/>
                <a:gd name="connsiteY1" fmla="*/ 1552091 h 1666875"/>
                <a:gd name="connsiteX2" fmla="*/ 58579 w 1771650"/>
                <a:gd name="connsiteY2" fmla="*/ 482433 h 1666875"/>
                <a:gd name="connsiteX3" fmla="*/ 98584 w 1771650"/>
                <a:gd name="connsiteY3" fmla="*/ 432903 h 1666875"/>
                <a:gd name="connsiteX4" fmla="*/ 1705451 w 1771650"/>
                <a:gd name="connsiteY4" fmla="*/ 9041 h 1666875"/>
                <a:gd name="connsiteX5" fmla="*/ 1772126 w 1771650"/>
                <a:gd name="connsiteY5" fmla="*/ 63333 h 1666875"/>
                <a:gd name="connsiteX6" fmla="*/ 1678781 w 1771650"/>
                <a:gd name="connsiteY6" fmla="*/ 1664486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1650" h="1666875">
                  <a:moveTo>
                    <a:pt x="1678781" y="1664486"/>
                  </a:moveTo>
                  <a:lnTo>
                    <a:pt x="7144" y="1552091"/>
                  </a:lnTo>
                  <a:lnTo>
                    <a:pt x="58579" y="482433"/>
                  </a:lnTo>
                  <a:cubicBezTo>
                    <a:pt x="59531" y="459573"/>
                    <a:pt x="75724" y="439571"/>
                    <a:pt x="98584" y="432903"/>
                  </a:cubicBezTo>
                  <a:lnTo>
                    <a:pt x="1705451" y="9041"/>
                  </a:lnTo>
                  <a:cubicBezTo>
                    <a:pt x="1740694" y="-484"/>
                    <a:pt x="1774984" y="27138"/>
                    <a:pt x="1772126" y="63333"/>
                  </a:cubicBezTo>
                  <a:lnTo>
                    <a:pt x="1678781" y="1664486"/>
                  </a:lnTo>
                  <a:close/>
                </a:path>
              </a:pathLst>
            </a:custGeom>
            <a:solidFill>
              <a:srgbClr val="1A1A1A"/>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35828F2-B7FB-4264-AC33-692955EDC4C3}"/>
                </a:ext>
              </a:extLst>
            </p:cNvPr>
            <p:cNvSpPr/>
            <p:nvPr/>
          </p:nvSpPr>
          <p:spPr>
            <a:xfrm>
              <a:off x="6572092" y="1577928"/>
              <a:ext cx="3907345" cy="3404644"/>
            </a:xfrm>
            <a:custGeom>
              <a:avLst/>
              <a:gdLst>
                <a:gd name="connsiteX0" fmla="*/ 1539716 w 1628775"/>
                <a:gd name="connsiteY0" fmla="*/ 1416844 h 1419225"/>
                <a:gd name="connsiteX1" fmla="*/ 7144 w 1628775"/>
                <a:gd name="connsiteY1" fmla="*/ 1357789 h 1419225"/>
                <a:gd name="connsiteX2" fmla="*/ 57626 w 1628775"/>
                <a:gd name="connsiteY2" fmla="*/ 363379 h 1419225"/>
                <a:gd name="connsiteX3" fmla="*/ 1628299 w 1628775"/>
                <a:gd name="connsiteY3" fmla="*/ 7144 h 1419225"/>
              </a:gdLst>
              <a:ahLst/>
              <a:cxnLst>
                <a:cxn ang="0">
                  <a:pos x="connsiteX0" y="connsiteY0"/>
                </a:cxn>
                <a:cxn ang="0">
                  <a:pos x="connsiteX1" y="connsiteY1"/>
                </a:cxn>
                <a:cxn ang="0">
                  <a:pos x="connsiteX2" y="connsiteY2"/>
                </a:cxn>
                <a:cxn ang="0">
                  <a:pos x="connsiteX3" y="connsiteY3"/>
                </a:cxn>
              </a:cxnLst>
              <a:rect l="l" t="t" r="r" b="b"/>
              <a:pathLst>
                <a:path w="1628775" h="1419225">
                  <a:moveTo>
                    <a:pt x="1539716" y="1416844"/>
                  </a:moveTo>
                  <a:lnTo>
                    <a:pt x="7144" y="1357789"/>
                  </a:lnTo>
                  <a:lnTo>
                    <a:pt x="57626" y="363379"/>
                  </a:lnTo>
                  <a:lnTo>
                    <a:pt x="1628299" y="7144"/>
                  </a:lnTo>
                  <a:close/>
                </a:path>
              </a:pathLst>
            </a:custGeom>
            <a:solidFill>
              <a:srgbClr val="E6E6E6"/>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B4AB4176-8511-4EAA-830E-C946CF9C1459}"/>
                </a:ext>
              </a:extLst>
            </p:cNvPr>
            <p:cNvSpPr/>
            <p:nvPr/>
          </p:nvSpPr>
          <p:spPr>
            <a:xfrm>
              <a:off x="6446339" y="4996281"/>
              <a:ext cx="4044444" cy="868298"/>
            </a:xfrm>
            <a:custGeom>
              <a:avLst/>
              <a:gdLst>
                <a:gd name="connsiteX0" fmla="*/ 13844 w 1685925"/>
                <a:gd name="connsiteY0" fmla="*/ 7144 h 361950"/>
                <a:gd name="connsiteX1" fmla="*/ 7176 w 1685925"/>
                <a:gd name="connsiteY1" fmla="*/ 133826 h 361950"/>
                <a:gd name="connsiteX2" fmla="*/ 53849 w 1685925"/>
                <a:gd name="connsiteY2" fmla="*/ 189071 h 361950"/>
                <a:gd name="connsiteX3" fmla="*/ 1597851 w 1685925"/>
                <a:gd name="connsiteY3" fmla="*/ 363379 h 361950"/>
                <a:gd name="connsiteX4" fmla="*/ 1675956 w 1685925"/>
                <a:gd name="connsiteY4" fmla="*/ 296704 h 361950"/>
                <a:gd name="connsiteX5" fmla="*/ 1686434 w 1685925"/>
                <a:gd name="connsiteY5" fmla="*/ 111919 h 361950"/>
                <a:gd name="connsiteX6" fmla="*/ 13844 w 1685925"/>
                <a:gd name="connsiteY6" fmla="*/ 7144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925" h="361950">
                  <a:moveTo>
                    <a:pt x="13844" y="7144"/>
                  </a:moveTo>
                  <a:lnTo>
                    <a:pt x="7176" y="133826"/>
                  </a:lnTo>
                  <a:cubicBezTo>
                    <a:pt x="6224" y="161449"/>
                    <a:pt x="26226" y="186214"/>
                    <a:pt x="53849" y="189071"/>
                  </a:cubicBezTo>
                  <a:lnTo>
                    <a:pt x="1597851" y="363379"/>
                  </a:lnTo>
                  <a:cubicBezTo>
                    <a:pt x="1637856" y="368141"/>
                    <a:pt x="1674051" y="337661"/>
                    <a:pt x="1675956" y="296704"/>
                  </a:cubicBezTo>
                  <a:lnTo>
                    <a:pt x="1686434" y="111919"/>
                  </a:lnTo>
                  <a:lnTo>
                    <a:pt x="13844" y="7144"/>
                  </a:lnTo>
                  <a:close/>
                </a:path>
              </a:pathLst>
            </a:custGeom>
            <a:solidFill>
              <a:srgbClr val="B3B3B3"/>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8024283E-0225-426B-83DC-ED62F65FA849}"/>
                </a:ext>
              </a:extLst>
            </p:cNvPr>
            <p:cNvSpPr/>
            <p:nvPr/>
          </p:nvSpPr>
          <p:spPr>
            <a:xfrm>
              <a:off x="7715310" y="1593115"/>
              <a:ext cx="2775473" cy="3394037"/>
            </a:xfrm>
            <a:custGeom>
              <a:avLst/>
              <a:gdLst>
                <a:gd name="connsiteX0" fmla="*/ 1425389 w 2775473"/>
                <a:gd name="connsiteY0" fmla="*/ 306593 h 3394037"/>
                <a:gd name="connsiteX1" fmla="*/ 2775473 w 2775473"/>
                <a:gd name="connsiteY1" fmla="*/ 0 h 3394037"/>
                <a:gd name="connsiteX2" fmla="*/ 2565699 w 2775473"/>
                <a:gd name="connsiteY2" fmla="*/ 3394037 h 3394037"/>
                <a:gd name="connsiteX3" fmla="*/ 0 w 2775473"/>
                <a:gd name="connsiteY3" fmla="*/ 3281082 h 3394037"/>
                <a:gd name="connsiteX4" fmla="*/ 1425389 w 2775473"/>
                <a:gd name="connsiteY4" fmla="*/ 306593 h 3394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5473" h="3394037">
                  <a:moveTo>
                    <a:pt x="1425389" y="306593"/>
                  </a:moveTo>
                  <a:lnTo>
                    <a:pt x="2775473" y="0"/>
                  </a:lnTo>
                  <a:lnTo>
                    <a:pt x="2565699" y="3394037"/>
                  </a:lnTo>
                  <a:lnTo>
                    <a:pt x="0" y="3281082"/>
                  </a:lnTo>
                  <a:lnTo>
                    <a:pt x="1425389" y="306593"/>
                  </a:lnTo>
                  <a:close/>
                </a:path>
              </a:pathLst>
            </a:custGeom>
            <a:solidFill>
              <a:srgbClr val="999999">
                <a:alpha val="10000"/>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chemeClr val="tx1"/>
                </a:solidFill>
              </a:endParaRPr>
            </a:p>
          </p:txBody>
        </p:sp>
      </p:grpSp>
      <p:sp>
        <p:nvSpPr>
          <p:cNvPr id="11" name="그림 개체 틀 2">
            <a:extLst>
              <a:ext uri="{FF2B5EF4-FFF2-40B4-BE49-F238E27FC236}">
                <a16:creationId xmlns:a16="http://schemas.microsoft.com/office/drawing/2014/main" id="{9402D267-5D5E-4A66-AC2F-5C21582AB3F1}"/>
              </a:ext>
            </a:extLst>
          </p:cNvPr>
          <p:cNvSpPr>
            <a:spLocks noGrp="1"/>
          </p:cNvSpPr>
          <p:nvPr>
            <p:ph type="pic" sz="quarter" idx="10" hasCustomPrompt="1"/>
          </p:nvPr>
        </p:nvSpPr>
        <p:spPr>
          <a:xfrm>
            <a:off x="7501708" y="648150"/>
            <a:ext cx="3485593" cy="3138847"/>
          </a:xfrm>
          <a:custGeom>
            <a:avLst/>
            <a:gdLst>
              <a:gd name="connsiteX0" fmla="*/ 0 w 4495800"/>
              <a:gd name="connsiteY0" fmla="*/ 0 h 2593057"/>
              <a:gd name="connsiteX1" fmla="*/ 4495800 w 4495800"/>
              <a:gd name="connsiteY1" fmla="*/ 0 h 2593057"/>
              <a:gd name="connsiteX2" fmla="*/ 4495800 w 4495800"/>
              <a:gd name="connsiteY2" fmla="*/ 2593057 h 2593057"/>
              <a:gd name="connsiteX3" fmla="*/ 0 w 4495800"/>
              <a:gd name="connsiteY3" fmla="*/ 2593057 h 2593057"/>
              <a:gd name="connsiteX4" fmla="*/ 0 w 4495800"/>
              <a:gd name="connsiteY4" fmla="*/ 0 h 2593057"/>
              <a:gd name="connsiteX0" fmla="*/ 0 w 4495800"/>
              <a:gd name="connsiteY0" fmla="*/ 656948 h 3250005"/>
              <a:gd name="connsiteX1" fmla="*/ 2951085 w 4495800"/>
              <a:gd name="connsiteY1" fmla="*/ 0 h 3250005"/>
              <a:gd name="connsiteX2" fmla="*/ 4495800 w 4495800"/>
              <a:gd name="connsiteY2" fmla="*/ 3250005 h 3250005"/>
              <a:gd name="connsiteX3" fmla="*/ 0 w 4495800"/>
              <a:gd name="connsiteY3" fmla="*/ 3250005 h 3250005"/>
              <a:gd name="connsiteX4" fmla="*/ 0 w 4495800"/>
              <a:gd name="connsiteY4" fmla="*/ 656948 h 3250005"/>
              <a:gd name="connsiteX0" fmla="*/ 106532 w 4602332"/>
              <a:gd name="connsiteY0" fmla="*/ 656948 h 3250005"/>
              <a:gd name="connsiteX1" fmla="*/ 3057617 w 4602332"/>
              <a:gd name="connsiteY1" fmla="*/ 0 h 3250005"/>
              <a:gd name="connsiteX2" fmla="*/ 4602332 w 4602332"/>
              <a:gd name="connsiteY2" fmla="*/ 3250005 h 3250005"/>
              <a:gd name="connsiteX3" fmla="*/ 0 w 4602332"/>
              <a:gd name="connsiteY3" fmla="*/ 2584180 h 3250005"/>
              <a:gd name="connsiteX4" fmla="*/ 106532 w 4602332"/>
              <a:gd name="connsiteY4" fmla="*/ 656948 h 3250005"/>
              <a:gd name="connsiteX0" fmla="*/ 106532 w 3057617"/>
              <a:gd name="connsiteY0" fmla="*/ 656948 h 2584180"/>
              <a:gd name="connsiteX1" fmla="*/ 3057617 w 3057617"/>
              <a:gd name="connsiteY1" fmla="*/ 0 h 2584180"/>
              <a:gd name="connsiteX2" fmla="*/ 2196483 w 3057617"/>
              <a:gd name="connsiteY2" fmla="*/ 2122541 h 2584180"/>
              <a:gd name="connsiteX3" fmla="*/ 0 w 3057617"/>
              <a:gd name="connsiteY3" fmla="*/ 2584180 h 2584180"/>
              <a:gd name="connsiteX4" fmla="*/ 106532 w 3057617"/>
              <a:gd name="connsiteY4" fmla="*/ 656948 h 2584180"/>
              <a:gd name="connsiteX0" fmla="*/ 106532 w 3057617"/>
              <a:gd name="connsiteY0" fmla="*/ 656948 h 2681834"/>
              <a:gd name="connsiteX1" fmla="*/ 3057617 w 3057617"/>
              <a:gd name="connsiteY1" fmla="*/ 0 h 2681834"/>
              <a:gd name="connsiteX2" fmla="*/ 2897819 w 3057617"/>
              <a:gd name="connsiteY2" fmla="*/ 2681834 h 2681834"/>
              <a:gd name="connsiteX3" fmla="*/ 0 w 3057617"/>
              <a:gd name="connsiteY3" fmla="*/ 2584180 h 2681834"/>
              <a:gd name="connsiteX4" fmla="*/ 106532 w 3057617"/>
              <a:gd name="connsiteY4" fmla="*/ 656948 h 2681834"/>
              <a:gd name="connsiteX0" fmla="*/ 0 w 2951085"/>
              <a:gd name="connsiteY0" fmla="*/ 656948 h 2681834"/>
              <a:gd name="connsiteX1" fmla="*/ 2951085 w 2951085"/>
              <a:gd name="connsiteY1" fmla="*/ 0 h 2681834"/>
              <a:gd name="connsiteX2" fmla="*/ 2791287 w 2951085"/>
              <a:gd name="connsiteY2" fmla="*/ 2681834 h 2681834"/>
              <a:gd name="connsiteX3" fmla="*/ 594804 w 2951085"/>
              <a:gd name="connsiteY3" fmla="*/ 2335605 h 2681834"/>
              <a:gd name="connsiteX4" fmla="*/ 0 w 2951085"/>
              <a:gd name="connsiteY4" fmla="*/ 656948 h 2681834"/>
              <a:gd name="connsiteX0" fmla="*/ 115409 w 3066494"/>
              <a:gd name="connsiteY0" fmla="*/ 656948 h 2681834"/>
              <a:gd name="connsiteX1" fmla="*/ 3066494 w 3066494"/>
              <a:gd name="connsiteY1" fmla="*/ 0 h 2681834"/>
              <a:gd name="connsiteX2" fmla="*/ 2906696 w 3066494"/>
              <a:gd name="connsiteY2" fmla="*/ 2681834 h 2681834"/>
              <a:gd name="connsiteX3" fmla="*/ 0 w 3066494"/>
              <a:gd name="connsiteY3" fmla="*/ 2557547 h 2681834"/>
              <a:gd name="connsiteX4" fmla="*/ 115409 w 3066494"/>
              <a:gd name="connsiteY4" fmla="*/ 656948 h 2681834"/>
              <a:gd name="connsiteX0" fmla="*/ 115409 w 2906696"/>
              <a:gd name="connsiteY0" fmla="*/ 292964 h 2317850"/>
              <a:gd name="connsiteX1" fmla="*/ 2853430 w 2906696"/>
              <a:gd name="connsiteY1" fmla="*/ 0 h 2317850"/>
              <a:gd name="connsiteX2" fmla="*/ 2906696 w 2906696"/>
              <a:gd name="connsiteY2" fmla="*/ 2317850 h 2317850"/>
              <a:gd name="connsiteX3" fmla="*/ 0 w 2906696"/>
              <a:gd name="connsiteY3" fmla="*/ 2193563 h 2317850"/>
              <a:gd name="connsiteX4" fmla="*/ 115409 w 2906696"/>
              <a:gd name="connsiteY4" fmla="*/ 292964 h 2317850"/>
              <a:gd name="connsiteX0" fmla="*/ 115409 w 3057617"/>
              <a:gd name="connsiteY0" fmla="*/ 648071 h 2672957"/>
              <a:gd name="connsiteX1" fmla="*/ 3057617 w 3057617"/>
              <a:gd name="connsiteY1" fmla="*/ 0 h 2672957"/>
              <a:gd name="connsiteX2" fmla="*/ 2906696 w 3057617"/>
              <a:gd name="connsiteY2" fmla="*/ 2672957 h 2672957"/>
              <a:gd name="connsiteX3" fmla="*/ 0 w 3057617"/>
              <a:gd name="connsiteY3" fmla="*/ 2548670 h 2672957"/>
              <a:gd name="connsiteX4" fmla="*/ 115409 w 3057617"/>
              <a:gd name="connsiteY4" fmla="*/ 648071 h 2672957"/>
              <a:gd name="connsiteX0" fmla="*/ 115409 w 2971257"/>
              <a:gd name="connsiteY0" fmla="*/ 510911 h 2535797"/>
              <a:gd name="connsiteX1" fmla="*/ 2971257 w 2971257"/>
              <a:gd name="connsiteY1" fmla="*/ 0 h 2535797"/>
              <a:gd name="connsiteX2" fmla="*/ 2906696 w 2971257"/>
              <a:gd name="connsiteY2" fmla="*/ 2535797 h 2535797"/>
              <a:gd name="connsiteX3" fmla="*/ 0 w 2971257"/>
              <a:gd name="connsiteY3" fmla="*/ 2411510 h 2535797"/>
              <a:gd name="connsiteX4" fmla="*/ 115409 w 2971257"/>
              <a:gd name="connsiteY4" fmla="*/ 510911 h 2535797"/>
              <a:gd name="connsiteX0" fmla="*/ 115409 w 3077937"/>
              <a:gd name="connsiteY0" fmla="*/ 668391 h 2693277"/>
              <a:gd name="connsiteX1" fmla="*/ 3077937 w 3077937"/>
              <a:gd name="connsiteY1" fmla="*/ 0 h 2693277"/>
              <a:gd name="connsiteX2" fmla="*/ 2906696 w 3077937"/>
              <a:gd name="connsiteY2" fmla="*/ 2693277 h 2693277"/>
              <a:gd name="connsiteX3" fmla="*/ 0 w 3077937"/>
              <a:gd name="connsiteY3" fmla="*/ 2568990 h 2693277"/>
              <a:gd name="connsiteX4" fmla="*/ 115409 w 3077937"/>
              <a:gd name="connsiteY4" fmla="*/ 668391 h 2693277"/>
              <a:gd name="connsiteX0" fmla="*/ 115409 w 3077937"/>
              <a:gd name="connsiteY0" fmla="*/ 668391 h 2568990"/>
              <a:gd name="connsiteX1" fmla="*/ 3077937 w 3077937"/>
              <a:gd name="connsiteY1" fmla="*/ 0 h 2568990"/>
              <a:gd name="connsiteX2" fmla="*/ 2769536 w 3077937"/>
              <a:gd name="connsiteY2" fmla="*/ 2535797 h 2568990"/>
              <a:gd name="connsiteX3" fmla="*/ 0 w 3077937"/>
              <a:gd name="connsiteY3" fmla="*/ 2568990 h 2568990"/>
              <a:gd name="connsiteX4" fmla="*/ 115409 w 3077937"/>
              <a:gd name="connsiteY4" fmla="*/ 668391 h 2568990"/>
              <a:gd name="connsiteX0" fmla="*/ 115409 w 3077937"/>
              <a:gd name="connsiteY0" fmla="*/ 668391 h 2693277"/>
              <a:gd name="connsiteX1" fmla="*/ 3077937 w 3077937"/>
              <a:gd name="connsiteY1" fmla="*/ 0 h 2693277"/>
              <a:gd name="connsiteX2" fmla="*/ 2916856 w 3077937"/>
              <a:gd name="connsiteY2" fmla="*/ 2693277 h 2693277"/>
              <a:gd name="connsiteX3" fmla="*/ 0 w 3077937"/>
              <a:gd name="connsiteY3" fmla="*/ 2568990 h 2693277"/>
              <a:gd name="connsiteX4" fmla="*/ 115409 w 3077937"/>
              <a:gd name="connsiteY4" fmla="*/ 668391 h 2693277"/>
              <a:gd name="connsiteX0" fmla="*/ 0 w 2962528"/>
              <a:gd name="connsiteY0" fmla="*/ 668391 h 2693277"/>
              <a:gd name="connsiteX1" fmla="*/ 2962528 w 2962528"/>
              <a:gd name="connsiteY1" fmla="*/ 0 h 2693277"/>
              <a:gd name="connsiteX2" fmla="*/ 2801447 w 2962528"/>
              <a:gd name="connsiteY2" fmla="*/ 2693277 h 2693277"/>
              <a:gd name="connsiteX3" fmla="*/ 331631 w 2962528"/>
              <a:gd name="connsiteY3" fmla="*/ 2289590 h 2693277"/>
              <a:gd name="connsiteX4" fmla="*/ 0 w 2962528"/>
              <a:gd name="connsiteY4" fmla="*/ 668391 h 2693277"/>
              <a:gd name="connsiteX0" fmla="*/ 120489 w 3083017"/>
              <a:gd name="connsiteY0" fmla="*/ 668391 h 2693277"/>
              <a:gd name="connsiteX1" fmla="*/ 3083017 w 3083017"/>
              <a:gd name="connsiteY1" fmla="*/ 0 h 2693277"/>
              <a:gd name="connsiteX2" fmla="*/ 2921936 w 3083017"/>
              <a:gd name="connsiteY2" fmla="*/ 2693277 h 2693277"/>
              <a:gd name="connsiteX3" fmla="*/ 0 w 3083017"/>
              <a:gd name="connsiteY3" fmla="*/ 2574070 h 2693277"/>
              <a:gd name="connsiteX4" fmla="*/ 120489 w 3083017"/>
              <a:gd name="connsiteY4" fmla="*/ 668391 h 2693277"/>
              <a:gd name="connsiteX0" fmla="*/ 262729 w 3083017"/>
              <a:gd name="connsiteY0" fmla="*/ 841111 h 2693277"/>
              <a:gd name="connsiteX1" fmla="*/ 3083017 w 3083017"/>
              <a:gd name="connsiteY1" fmla="*/ 0 h 2693277"/>
              <a:gd name="connsiteX2" fmla="*/ 2921936 w 3083017"/>
              <a:gd name="connsiteY2" fmla="*/ 2693277 h 2693277"/>
              <a:gd name="connsiteX3" fmla="*/ 0 w 3083017"/>
              <a:gd name="connsiteY3" fmla="*/ 2574070 h 2693277"/>
              <a:gd name="connsiteX4" fmla="*/ 262729 w 3083017"/>
              <a:gd name="connsiteY4" fmla="*/ 841111 h 2693277"/>
              <a:gd name="connsiteX0" fmla="*/ 105249 w 3083017"/>
              <a:gd name="connsiteY0" fmla="*/ 709031 h 2693277"/>
              <a:gd name="connsiteX1" fmla="*/ 3083017 w 3083017"/>
              <a:gd name="connsiteY1" fmla="*/ 0 h 2693277"/>
              <a:gd name="connsiteX2" fmla="*/ 2921936 w 3083017"/>
              <a:gd name="connsiteY2" fmla="*/ 2693277 h 2693277"/>
              <a:gd name="connsiteX3" fmla="*/ 0 w 3083017"/>
              <a:gd name="connsiteY3" fmla="*/ 2574070 h 2693277"/>
              <a:gd name="connsiteX4" fmla="*/ 105249 w 3083017"/>
              <a:gd name="connsiteY4" fmla="*/ 709031 h 2693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3017" h="2693277">
                <a:moveTo>
                  <a:pt x="105249" y="709031"/>
                </a:moveTo>
                <a:lnTo>
                  <a:pt x="3083017" y="0"/>
                </a:lnTo>
                <a:lnTo>
                  <a:pt x="2921936" y="2693277"/>
                </a:lnTo>
                <a:lnTo>
                  <a:pt x="0" y="2574070"/>
                </a:lnTo>
                <a:lnTo>
                  <a:pt x="105249" y="709031"/>
                </a:lnTo>
                <a:close/>
              </a:path>
            </a:pathLst>
          </a:custGeom>
          <a:solidFill>
            <a:schemeClr val="bg1">
              <a:lumMod val="95000"/>
            </a:schemeClr>
          </a:solidFill>
          <a:ln w="25400">
            <a:noFill/>
          </a:ln>
          <a:effectLst/>
        </p:spPr>
        <p:txBody>
          <a:bodyPr anchor="ctr"/>
          <a:lstStyle>
            <a:lvl1pPr marL="0" indent="0" algn="ctr">
              <a:buFontTx/>
              <a:buNone/>
              <a:defRPr sz="1200">
                <a:solidFill>
                  <a:schemeClr val="tx1">
                    <a:lumMod val="75000"/>
                    <a:lumOff val="25000"/>
                  </a:schemeClr>
                </a:solidFill>
                <a:latin typeface="+mn-lt"/>
                <a:cs typeface="Arial" pitchFamily="34" charset="0"/>
              </a:defRPr>
            </a:lvl1pPr>
          </a:lstStyle>
          <a:p>
            <a:r>
              <a:rPr lang="en-US" altLang="ko-KR" dirty="0"/>
              <a:t>Place Your Picture Here</a:t>
            </a:r>
            <a:endParaRPr lang="ko-KR" altLang="en-US" dirty="0"/>
          </a:p>
        </p:txBody>
      </p:sp>
    </p:spTree>
    <p:extLst>
      <p:ext uri="{BB962C8B-B14F-4D97-AF65-F5344CB8AC3E}">
        <p14:creationId xmlns:p14="http://schemas.microsoft.com/office/powerpoint/2010/main" val="3182189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195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6_Images &amp; Contents Layout">
    <p:bg>
      <p:bgPr>
        <a:solidFill>
          <a:schemeClr val="bg1"/>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idx="10" hasCustomPrompt="1"/>
          </p:nvPr>
        </p:nvSpPr>
        <p:spPr>
          <a:xfrm>
            <a:off x="9139162" y="1"/>
            <a:ext cx="2863562" cy="3999323"/>
          </a:xfrm>
          <a:prstGeom prst="rect">
            <a:avLst/>
          </a:prstGeom>
          <a:solidFill>
            <a:schemeClr val="bg1">
              <a:lumMod val="95000"/>
            </a:schemeClr>
          </a:solidFill>
          <a:ln w="12700">
            <a:noFill/>
          </a:ln>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11" name="Picture Placeholder 2"/>
          <p:cNvSpPr>
            <a:spLocks noGrp="1"/>
          </p:cNvSpPr>
          <p:nvPr>
            <p:ph type="pic" idx="11" hasCustomPrompt="1"/>
          </p:nvPr>
        </p:nvSpPr>
        <p:spPr>
          <a:xfrm>
            <a:off x="6122128" y="2870061"/>
            <a:ext cx="2863562" cy="3987939"/>
          </a:xfrm>
          <a:prstGeom prst="rect">
            <a:avLst/>
          </a:prstGeom>
          <a:solidFill>
            <a:schemeClr val="bg1">
              <a:lumMod val="95000"/>
            </a:schemeClr>
          </a:solidFill>
          <a:ln w="12700">
            <a:noFill/>
          </a:ln>
        </p:spPr>
        <p:txBody>
          <a:bodyPr anchor="ctr"/>
          <a:lstStyle>
            <a:lvl1pPr marL="0" indent="0" algn="ctr">
              <a:buNone/>
              <a:defRPr sz="120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3" name="Rectangle 2"/>
          <p:cNvSpPr/>
          <p:nvPr userDrawn="1"/>
        </p:nvSpPr>
        <p:spPr>
          <a:xfrm>
            <a:off x="9139162" y="4114800"/>
            <a:ext cx="2863562" cy="274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solidFill>
                <a:schemeClr val="tx1"/>
              </a:solidFill>
            </a:endParaRPr>
          </a:p>
        </p:txBody>
      </p:sp>
      <p:sp>
        <p:nvSpPr>
          <p:cNvPr id="14" name="Rectangle 13"/>
          <p:cNvSpPr/>
          <p:nvPr userDrawn="1"/>
        </p:nvSpPr>
        <p:spPr>
          <a:xfrm>
            <a:off x="6122128" y="1"/>
            <a:ext cx="2863562" cy="27545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1800">
              <a:solidFill>
                <a:schemeClr val="tx1"/>
              </a:solidFill>
            </a:endParaRPr>
          </a:p>
        </p:txBody>
      </p:sp>
    </p:spTree>
    <p:extLst>
      <p:ext uri="{BB962C8B-B14F-4D97-AF65-F5344CB8AC3E}">
        <p14:creationId xmlns:p14="http://schemas.microsoft.com/office/powerpoint/2010/main" val="12957010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2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4621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3_Contents slide layout">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A0097D9-F111-48B6-9169-9805C29F4E41}"/>
              </a:ext>
            </a:extLst>
          </p:cNvPr>
          <p:cNvSpPr/>
          <p:nvPr userDrawn="1"/>
        </p:nvSpPr>
        <p:spPr>
          <a:xfrm>
            <a:off x="3880338" y="4567873"/>
            <a:ext cx="4431324" cy="448874"/>
          </a:xfrm>
          <a:prstGeom prst="ellipse">
            <a:avLst/>
          </a:prstGeom>
          <a:solidFill>
            <a:schemeClr val="tx1">
              <a:lumMod val="50000"/>
              <a:lumOff val="50000"/>
            </a:schemeClr>
          </a:solidFill>
          <a:ln>
            <a:noFill/>
          </a:ln>
          <a:effectLst>
            <a:softEdge rad="203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nvGrpSpPr>
          <p:cNvPr id="3" name="Graphic 14">
            <a:extLst>
              <a:ext uri="{FF2B5EF4-FFF2-40B4-BE49-F238E27FC236}">
                <a16:creationId xmlns:a16="http://schemas.microsoft.com/office/drawing/2014/main" id="{E1AEDBCB-B8A6-46DC-B408-2BE8EC133A3A}"/>
              </a:ext>
            </a:extLst>
          </p:cNvPr>
          <p:cNvGrpSpPr/>
          <p:nvPr userDrawn="1"/>
        </p:nvGrpSpPr>
        <p:grpSpPr>
          <a:xfrm>
            <a:off x="4181510" y="1536176"/>
            <a:ext cx="3966027" cy="3201070"/>
            <a:chOff x="2444748" y="555045"/>
            <a:chExt cx="7282048" cy="5727454"/>
          </a:xfrm>
        </p:grpSpPr>
        <p:sp>
          <p:nvSpPr>
            <p:cNvPr id="4" name="Freeform: Shape 3">
              <a:extLst>
                <a:ext uri="{FF2B5EF4-FFF2-40B4-BE49-F238E27FC236}">
                  <a16:creationId xmlns:a16="http://schemas.microsoft.com/office/drawing/2014/main" id="{4AA4A6DA-83F2-4A3A-9192-DE84413AB484}"/>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chemeClr val="bg1">
                    <a:lumMod val="75000"/>
                  </a:schemeClr>
                </a:gs>
                <a:gs pos="53000">
                  <a:schemeClr val="bg1">
                    <a:lumMod val="85000"/>
                  </a:schemeClr>
                </a:gs>
                <a:gs pos="83000">
                  <a:schemeClr val="bg1">
                    <a:lumMod val="75000"/>
                  </a:schemeClr>
                </a:gs>
                <a:gs pos="100000">
                  <a:schemeClr val="bg1">
                    <a:lumMod val="75000"/>
                  </a:schemeClr>
                </a:gs>
              </a:gsLst>
              <a:lin ang="16200000" scaled="0"/>
            </a:gradFill>
            <a:ln w="952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31B45117-7ACB-494A-A205-A665C05E1E25}"/>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8D349466-ECBA-47E5-9745-A423FDEDC5E4}"/>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7BB3733-CFD1-4E9E-9FE7-9BD67E0C8158}"/>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7087111D-A3D1-435B-B13E-C55DF077F403}"/>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chemeClr val="tx1">
                <a:lumMod val="50000"/>
                <a:lumOff val="50000"/>
              </a:schemeClr>
            </a:solidFill>
            <a:ln w="9525"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FCC4EEF-ABF7-40AE-BED4-71BE30D8BB63}"/>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chemeClr val="bg1">
                <a:lumMod val="75000"/>
              </a:schemeClr>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35B0DB0-0826-4CF2-9899-0AF787E459FA}"/>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75F6B97A-E435-4186-ABCB-BD07DA0A107C}"/>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grpSp>
        <p:nvGrpSpPr>
          <p:cNvPr id="12" name="Graphic 14">
            <a:extLst>
              <a:ext uri="{FF2B5EF4-FFF2-40B4-BE49-F238E27FC236}">
                <a16:creationId xmlns:a16="http://schemas.microsoft.com/office/drawing/2014/main" id="{CFE13B92-5832-4817-962F-056F0D6CC120}"/>
              </a:ext>
            </a:extLst>
          </p:cNvPr>
          <p:cNvGrpSpPr/>
          <p:nvPr userDrawn="1"/>
        </p:nvGrpSpPr>
        <p:grpSpPr>
          <a:xfrm>
            <a:off x="802991" y="2192794"/>
            <a:ext cx="2744170" cy="2214881"/>
            <a:chOff x="2444748" y="555045"/>
            <a:chExt cx="7282048" cy="5727454"/>
          </a:xfrm>
        </p:grpSpPr>
        <p:sp>
          <p:nvSpPr>
            <p:cNvPr id="13" name="Freeform: Shape 12">
              <a:extLst>
                <a:ext uri="{FF2B5EF4-FFF2-40B4-BE49-F238E27FC236}">
                  <a16:creationId xmlns:a16="http://schemas.microsoft.com/office/drawing/2014/main" id="{8B55B52C-BF34-47AF-BBC7-27211A564CA7}"/>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chemeClr val="bg1">
                    <a:lumMod val="75000"/>
                  </a:schemeClr>
                </a:gs>
                <a:gs pos="53000">
                  <a:schemeClr val="bg1">
                    <a:lumMod val="85000"/>
                  </a:schemeClr>
                </a:gs>
                <a:gs pos="83000">
                  <a:schemeClr val="bg1">
                    <a:lumMod val="75000"/>
                  </a:schemeClr>
                </a:gs>
                <a:gs pos="100000">
                  <a:schemeClr val="bg1">
                    <a:lumMod val="75000"/>
                  </a:schemeClr>
                </a:gs>
              </a:gsLst>
              <a:lin ang="16200000" scaled="0"/>
            </a:gra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DE15B44-7619-43B1-9DD6-C3948D47993C}"/>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38144E88-F504-4F84-B113-3F93E2343CD1}"/>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2B52506-B328-477C-833A-B5256AFB88A7}"/>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0F0EFBAC-7D4E-4337-88DC-9EFAD4CE6593}"/>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chemeClr val="tx1">
                <a:lumMod val="50000"/>
                <a:lumOff val="50000"/>
              </a:schemeClr>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9C5B30E-F499-4C11-B286-656601032370}"/>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chemeClr val="bg1">
                <a:lumMod val="75000"/>
              </a:schemeClr>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D1ADB49-AD9C-4EEB-B012-2EDDDB10AA60}"/>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68B7E2B-E0A7-42AD-8EC7-3611D6B75790}"/>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grpSp>
        <p:nvGrpSpPr>
          <p:cNvPr id="21" name="Graphic 14">
            <a:extLst>
              <a:ext uri="{FF2B5EF4-FFF2-40B4-BE49-F238E27FC236}">
                <a16:creationId xmlns:a16="http://schemas.microsoft.com/office/drawing/2014/main" id="{07E6276E-8ACB-4581-B338-6C20FF3AABF0}"/>
              </a:ext>
            </a:extLst>
          </p:cNvPr>
          <p:cNvGrpSpPr/>
          <p:nvPr userDrawn="1"/>
        </p:nvGrpSpPr>
        <p:grpSpPr>
          <a:xfrm>
            <a:off x="8753103" y="2192794"/>
            <a:ext cx="2744170" cy="2214881"/>
            <a:chOff x="2444748" y="555045"/>
            <a:chExt cx="7282048" cy="5727454"/>
          </a:xfrm>
        </p:grpSpPr>
        <p:sp>
          <p:nvSpPr>
            <p:cNvPr id="22" name="Freeform: Shape 21">
              <a:extLst>
                <a:ext uri="{FF2B5EF4-FFF2-40B4-BE49-F238E27FC236}">
                  <a16:creationId xmlns:a16="http://schemas.microsoft.com/office/drawing/2014/main" id="{A9279636-422C-49ED-B171-A5D312A4CCAB}"/>
                </a:ext>
              </a:extLst>
            </p:cNvPr>
            <p:cNvSpPr/>
            <p:nvPr/>
          </p:nvSpPr>
          <p:spPr>
            <a:xfrm>
              <a:off x="4964693" y="5443837"/>
              <a:ext cx="2168250" cy="818208"/>
            </a:xfrm>
            <a:custGeom>
              <a:avLst/>
              <a:gdLst>
                <a:gd name="connsiteX0" fmla="*/ 1941333 w 2168250"/>
                <a:gd name="connsiteY0" fmla="*/ 525699 h 818207"/>
                <a:gd name="connsiteX1" fmla="*/ 1785874 w 2168250"/>
                <a:gd name="connsiteY1" fmla="*/ 30683 h 818207"/>
                <a:gd name="connsiteX2" fmla="*/ 1114943 w 2168250"/>
                <a:gd name="connsiteY2" fmla="*/ 30683 h 818207"/>
                <a:gd name="connsiteX3" fmla="*/ 1065851 w 2168250"/>
                <a:gd name="connsiteY3" fmla="*/ 30683 h 818207"/>
                <a:gd name="connsiteX4" fmla="*/ 390830 w 2168250"/>
                <a:gd name="connsiteY4" fmla="*/ 30683 h 818207"/>
                <a:gd name="connsiteX5" fmla="*/ 235370 w 2168250"/>
                <a:gd name="connsiteY5" fmla="*/ 525699 h 818207"/>
                <a:gd name="connsiteX6" fmla="*/ 259916 w 2168250"/>
                <a:gd name="connsiteY6" fmla="*/ 816162 h 818207"/>
                <a:gd name="connsiteX7" fmla="*/ 1065851 w 2168250"/>
                <a:gd name="connsiteY7" fmla="*/ 816162 h 818207"/>
                <a:gd name="connsiteX8" fmla="*/ 1114943 w 2168250"/>
                <a:gd name="connsiteY8" fmla="*/ 816162 h 818207"/>
                <a:gd name="connsiteX9" fmla="*/ 1920878 w 2168250"/>
                <a:gd name="connsiteY9" fmla="*/ 816162 h 818207"/>
                <a:gd name="connsiteX10" fmla="*/ 1941333 w 2168250"/>
                <a:gd name="connsiteY10" fmla="*/ 525699 h 81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8250" h="818207">
                  <a:moveTo>
                    <a:pt x="1941333" y="525699"/>
                  </a:moveTo>
                  <a:cubicBezTo>
                    <a:pt x="1789965" y="370239"/>
                    <a:pt x="1785874" y="30683"/>
                    <a:pt x="1785874" y="30683"/>
                  </a:cubicBezTo>
                  <a:lnTo>
                    <a:pt x="1114943" y="30683"/>
                  </a:lnTo>
                  <a:lnTo>
                    <a:pt x="1065851" y="30683"/>
                  </a:lnTo>
                  <a:lnTo>
                    <a:pt x="390830" y="30683"/>
                  </a:lnTo>
                  <a:cubicBezTo>
                    <a:pt x="390830" y="30683"/>
                    <a:pt x="386739" y="366148"/>
                    <a:pt x="235370" y="525699"/>
                  </a:cubicBezTo>
                  <a:cubicBezTo>
                    <a:pt x="84002" y="681158"/>
                    <a:pt x="-149188" y="816162"/>
                    <a:pt x="259916" y="816162"/>
                  </a:cubicBezTo>
                  <a:cubicBezTo>
                    <a:pt x="587199" y="816162"/>
                    <a:pt x="939029" y="816162"/>
                    <a:pt x="1065851" y="816162"/>
                  </a:cubicBezTo>
                  <a:cubicBezTo>
                    <a:pt x="1098579" y="816162"/>
                    <a:pt x="1114943" y="816162"/>
                    <a:pt x="1114943" y="816162"/>
                  </a:cubicBezTo>
                  <a:cubicBezTo>
                    <a:pt x="1245857" y="816162"/>
                    <a:pt x="1597686" y="816162"/>
                    <a:pt x="1920878" y="816162"/>
                  </a:cubicBezTo>
                  <a:cubicBezTo>
                    <a:pt x="2329982" y="816162"/>
                    <a:pt x="2092702" y="681158"/>
                    <a:pt x="1941333" y="525699"/>
                  </a:cubicBezTo>
                  <a:close/>
                </a:path>
              </a:pathLst>
            </a:custGeom>
            <a:gradFill>
              <a:gsLst>
                <a:gs pos="0">
                  <a:schemeClr val="bg1">
                    <a:lumMod val="75000"/>
                  </a:schemeClr>
                </a:gs>
                <a:gs pos="53000">
                  <a:schemeClr val="bg1">
                    <a:lumMod val="85000"/>
                  </a:schemeClr>
                </a:gs>
                <a:gs pos="83000">
                  <a:schemeClr val="bg1">
                    <a:lumMod val="75000"/>
                  </a:schemeClr>
                </a:gs>
                <a:gs pos="100000">
                  <a:schemeClr val="bg1">
                    <a:lumMod val="75000"/>
                  </a:schemeClr>
                </a:gs>
              </a:gsLst>
              <a:lin ang="16200000" scaled="0"/>
            </a:gra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1C8387C4-C5CC-422A-A1D9-E3DE7B06B16A}"/>
                </a:ext>
              </a:extLst>
            </p:cNvPr>
            <p:cNvSpPr/>
            <p:nvPr/>
          </p:nvSpPr>
          <p:spPr>
            <a:xfrm>
              <a:off x="2444748" y="555045"/>
              <a:ext cx="7282048" cy="4950157"/>
            </a:xfrm>
            <a:custGeom>
              <a:avLst/>
              <a:gdLst>
                <a:gd name="connsiteX0" fmla="*/ 7038632 w 7282048"/>
                <a:gd name="connsiteY0" fmla="*/ 30683 h 4950157"/>
                <a:gd name="connsiteX1" fmla="*/ 3704436 w 7282048"/>
                <a:gd name="connsiteY1" fmla="*/ 30683 h 4950157"/>
                <a:gd name="connsiteX2" fmla="*/ 3589886 w 7282048"/>
                <a:gd name="connsiteY2" fmla="*/ 30683 h 4950157"/>
                <a:gd name="connsiteX3" fmla="*/ 259781 w 7282048"/>
                <a:gd name="connsiteY3" fmla="*/ 30683 h 4950157"/>
                <a:gd name="connsiteX4" fmla="*/ 30683 w 7282048"/>
                <a:gd name="connsiteY4" fmla="*/ 259781 h 4950157"/>
                <a:gd name="connsiteX5" fmla="*/ 30683 w 7282048"/>
                <a:gd name="connsiteY5" fmla="*/ 4698558 h 4950157"/>
                <a:gd name="connsiteX6" fmla="*/ 239326 w 7282048"/>
                <a:gd name="connsiteY6" fmla="*/ 4931748 h 4950157"/>
                <a:gd name="connsiteX7" fmla="*/ 7042723 w 7282048"/>
                <a:gd name="connsiteY7" fmla="*/ 4931748 h 4950157"/>
                <a:gd name="connsiteX8" fmla="*/ 7251366 w 7282048"/>
                <a:gd name="connsiteY8" fmla="*/ 4698558 h 4950157"/>
                <a:gd name="connsiteX9" fmla="*/ 7251366 w 7282048"/>
                <a:gd name="connsiteY9" fmla="*/ 259781 h 4950157"/>
                <a:gd name="connsiteX10" fmla="*/ 7038632 w 7282048"/>
                <a:gd name="connsiteY10" fmla="*/ 30683 h 49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2048" h="4950157">
                  <a:moveTo>
                    <a:pt x="7038632" y="30683"/>
                  </a:moveTo>
                  <a:lnTo>
                    <a:pt x="3704436" y="30683"/>
                  </a:lnTo>
                  <a:lnTo>
                    <a:pt x="3589886" y="30683"/>
                  </a:lnTo>
                  <a:lnTo>
                    <a:pt x="259781" y="30683"/>
                  </a:lnTo>
                  <a:cubicBezTo>
                    <a:pt x="141141" y="30683"/>
                    <a:pt x="30683" y="128868"/>
                    <a:pt x="30683" y="259781"/>
                  </a:cubicBezTo>
                  <a:lnTo>
                    <a:pt x="30683" y="4698558"/>
                  </a:lnTo>
                  <a:cubicBezTo>
                    <a:pt x="30683" y="4829472"/>
                    <a:pt x="124777" y="4931748"/>
                    <a:pt x="239326" y="4931748"/>
                  </a:cubicBezTo>
                  <a:lnTo>
                    <a:pt x="7042723" y="4931748"/>
                  </a:lnTo>
                  <a:cubicBezTo>
                    <a:pt x="7157272" y="4931748"/>
                    <a:pt x="7251366" y="4825380"/>
                    <a:pt x="7251366" y="4698558"/>
                  </a:cubicBezTo>
                  <a:lnTo>
                    <a:pt x="7251366" y="259781"/>
                  </a:lnTo>
                  <a:cubicBezTo>
                    <a:pt x="7251366" y="128868"/>
                    <a:pt x="7157272" y="30683"/>
                    <a:pt x="7038632" y="30683"/>
                  </a:cubicBezTo>
                  <a:close/>
                </a:path>
              </a:pathLst>
            </a:custGeom>
            <a:solidFill>
              <a:srgbClr val="999999"/>
            </a:solid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38ED0A20-1E22-484B-8DE1-F5E6CB683968}"/>
                </a:ext>
              </a:extLst>
            </p:cNvPr>
            <p:cNvSpPr/>
            <p:nvPr/>
          </p:nvSpPr>
          <p:spPr>
            <a:xfrm>
              <a:off x="8706599" y="5435655"/>
              <a:ext cx="490925" cy="81821"/>
            </a:xfrm>
            <a:custGeom>
              <a:avLst/>
              <a:gdLst>
                <a:gd name="connsiteX0" fmla="*/ 32212 w 490924"/>
                <a:gd name="connsiteY0" fmla="*/ 30683 h 81820"/>
                <a:gd name="connsiteX1" fmla="*/ 64939 w 490924"/>
                <a:gd name="connsiteY1" fmla="*/ 71593 h 81820"/>
                <a:gd name="connsiteX2" fmla="*/ 461771 w 490924"/>
                <a:gd name="connsiteY2" fmla="*/ 71593 h 81820"/>
                <a:gd name="connsiteX3" fmla="*/ 498590 w 490924"/>
                <a:gd name="connsiteY3" fmla="*/ 30683 h 81820"/>
                <a:gd name="connsiteX4" fmla="*/ 32212 w 490924"/>
                <a:gd name="connsiteY4" fmla="*/ 30683 h 8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924" h="81820">
                  <a:moveTo>
                    <a:pt x="32212" y="30683"/>
                  </a:moveTo>
                  <a:cubicBezTo>
                    <a:pt x="32212" y="30683"/>
                    <a:pt x="19938" y="67502"/>
                    <a:pt x="64939" y="71593"/>
                  </a:cubicBezTo>
                  <a:lnTo>
                    <a:pt x="461771" y="71593"/>
                  </a:lnTo>
                  <a:cubicBezTo>
                    <a:pt x="461771" y="71593"/>
                    <a:pt x="502681" y="75684"/>
                    <a:pt x="498590" y="30683"/>
                  </a:cubicBezTo>
                  <a:lnTo>
                    <a:pt x="32212" y="30683"/>
                  </a:lnTo>
                  <a:close/>
                </a:path>
              </a:pathLst>
            </a:custGeom>
            <a:solidFill>
              <a:srgbClr val="999999"/>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0A58AB9-62DF-4942-8F64-BCB382970738}"/>
                </a:ext>
              </a:extLst>
            </p:cNvPr>
            <p:cNvSpPr/>
            <p:nvPr/>
          </p:nvSpPr>
          <p:spPr>
            <a:xfrm>
              <a:off x="2481568" y="595956"/>
              <a:ext cx="7200228" cy="4336501"/>
            </a:xfrm>
            <a:custGeom>
              <a:avLst/>
              <a:gdLst>
                <a:gd name="connsiteX0" fmla="*/ 6973175 w 7200227"/>
                <a:gd name="connsiteY0" fmla="*/ 30683 h 4336501"/>
                <a:gd name="connsiteX1" fmla="*/ 3671707 w 7200227"/>
                <a:gd name="connsiteY1" fmla="*/ 30683 h 4336501"/>
                <a:gd name="connsiteX2" fmla="*/ 3561249 w 7200227"/>
                <a:gd name="connsiteY2" fmla="*/ 30683 h 4336501"/>
                <a:gd name="connsiteX3" fmla="*/ 259781 w 7200227"/>
                <a:gd name="connsiteY3" fmla="*/ 30683 h 4336501"/>
                <a:gd name="connsiteX4" fmla="*/ 30683 w 7200227"/>
                <a:gd name="connsiteY4" fmla="*/ 231144 h 4336501"/>
                <a:gd name="connsiteX5" fmla="*/ 30683 w 7200227"/>
                <a:gd name="connsiteY5" fmla="*/ 4330365 h 4336501"/>
                <a:gd name="connsiteX6" fmla="*/ 7185909 w 7200227"/>
                <a:gd name="connsiteY6" fmla="*/ 4330365 h 4336501"/>
                <a:gd name="connsiteX7" fmla="*/ 7185909 w 7200227"/>
                <a:gd name="connsiteY7" fmla="*/ 231144 h 4336501"/>
                <a:gd name="connsiteX8" fmla="*/ 6973175 w 7200227"/>
                <a:gd name="connsiteY8" fmla="*/ 30683 h 433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4336501">
                  <a:moveTo>
                    <a:pt x="6973175" y="30683"/>
                  </a:moveTo>
                  <a:lnTo>
                    <a:pt x="3671707" y="30683"/>
                  </a:lnTo>
                  <a:lnTo>
                    <a:pt x="3561249" y="30683"/>
                  </a:lnTo>
                  <a:lnTo>
                    <a:pt x="259781" y="30683"/>
                  </a:lnTo>
                  <a:cubicBezTo>
                    <a:pt x="141141" y="30683"/>
                    <a:pt x="30683" y="112504"/>
                    <a:pt x="30683" y="231144"/>
                  </a:cubicBezTo>
                  <a:lnTo>
                    <a:pt x="30683" y="4330365"/>
                  </a:lnTo>
                  <a:lnTo>
                    <a:pt x="7185909" y="4330365"/>
                  </a:lnTo>
                  <a:lnTo>
                    <a:pt x="7185909" y="231144"/>
                  </a:lnTo>
                  <a:cubicBezTo>
                    <a:pt x="7185909" y="112504"/>
                    <a:pt x="7091815" y="30683"/>
                    <a:pt x="6973175" y="30683"/>
                  </a:cubicBezTo>
                  <a:close/>
                </a:path>
              </a:pathLst>
            </a:custGeom>
            <a:solidFill>
              <a:srgbClr val="231F20"/>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81FDF209-81F0-442D-BA86-73F31D9FE51B}"/>
                </a:ext>
              </a:extLst>
            </p:cNvPr>
            <p:cNvSpPr/>
            <p:nvPr/>
          </p:nvSpPr>
          <p:spPr>
            <a:xfrm>
              <a:off x="4968919" y="6159768"/>
              <a:ext cx="2168250" cy="122731"/>
            </a:xfrm>
            <a:custGeom>
              <a:avLst/>
              <a:gdLst>
                <a:gd name="connsiteX0" fmla="*/ 30683 w 2168250"/>
                <a:gd name="connsiteY0" fmla="*/ 34774 h 122731"/>
                <a:gd name="connsiteX1" fmla="*/ 30683 w 2168250"/>
                <a:gd name="connsiteY1" fmla="*/ 34774 h 122731"/>
                <a:gd name="connsiteX2" fmla="*/ 30683 w 2168250"/>
                <a:gd name="connsiteY2" fmla="*/ 38865 h 122731"/>
                <a:gd name="connsiteX3" fmla="*/ 30683 w 2168250"/>
                <a:gd name="connsiteY3" fmla="*/ 38865 h 122731"/>
                <a:gd name="connsiteX4" fmla="*/ 263872 w 2168250"/>
                <a:gd name="connsiteY4" fmla="*/ 96140 h 122731"/>
                <a:gd name="connsiteX5" fmla="*/ 1069807 w 2168250"/>
                <a:gd name="connsiteY5" fmla="*/ 96140 h 122731"/>
                <a:gd name="connsiteX6" fmla="*/ 1118899 w 2168250"/>
                <a:gd name="connsiteY6" fmla="*/ 96140 h 122731"/>
                <a:gd name="connsiteX7" fmla="*/ 1924834 w 2168250"/>
                <a:gd name="connsiteY7" fmla="*/ 96140 h 122731"/>
                <a:gd name="connsiteX8" fmla="*/ 2153932 w 2168250"/>
                <a:gd name="connsiteY8" fmla="*/ 30683 h 122731"/>
                <a:gd name="connsiteX9" fmla="*/ 2137568 w 2168250"/>
                <a:gd name="connsiteY9" fmla="*/ 30683 h 122731"/>
                <a:gd name="connsiteX10" fmla="*/ 2137568 w 2168250"/>
                <a:gd name="connsiteY10" fmla="*/ 30683 h 122731"/>
                <a:gd name="connsiteX11" fmla="*/ 30683 w 2168250"/>
                <a:gd name="connsiteY11" fmla="*/ 30683 h 122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8250" h="122731">
                  <a:moveTo>
                    <a:pt x="30683" y="34774"/>
                  </a:moveTo>
                  <a:lnTo>
                    <a:pt x="30683" y="34774"/>
                  </a:lnTo>
                  <a:cubicBezTo>
                    <a:pt x="30683" y="38865"/>
                    <a:pt x="30683" y="38865"/>
                    <a:pt x="30683" y="38865"/>
                  </a:cubicBezTo>
                  <a:lnTo>
                    <a:pt x="30683" y="38865"/>
                  </a:lnTo>
                  <a:cubicBezTo>
                    <a:pt x="30683" y="79775"/>
                    <a:pt x="96139" y="96140"/>
                    <a:pt x="263872" y="96140"/>
                  </a:cubicBezTo>
                  <a:cubicBezTo>
                    <a:pt x="591155" y="96140"/>
                    <a:pt x="942984" y="96140"/>
                    <a:pt x="1069807" y="96140"/>
                  </a:cubicBezTo>
                  <a:cubicBezTo>
                    <a:pt x="1102535" y="96140"/>
                    <a:pt x="1118899" y="96140"/>
                    <a:pt x="1118899" y="96140"/>
                  </a:cubicBezTo>
                  <a:cubicBezTo>
                    <a:pt x="1249812" y="96140"/>
                    <a:pt x="1601642" y="96140"/>
                    <a:pt x="1924834" y="96140"/>
                  </a:cubicBezTo>
                  <a:cubicBezTo>
                    <a:pt x="2092566" y="96140"/>
                    <a:pt x="2149841" y="75684"/>
                    <a:pt x="2153932" y="30683"/>
                  </a:cubicBezTo>
                  <a:lnTo>
                    <a:pt x="2137568" y="30683"/>
                  </a:lnTo>
                  <a:lnTo>
                    <a:pt x="2137568" y="30683"/>
                  </a:lnTo>
                  <a:lnTo>
                    <a:pt x="30683" y="30683"/>
                  </a:lnTo>
                  <a:close/>
                </a:path>
              </a:pathLst>
            </a:custGeom>
            <a:solidFill>
              <a:schemeClr val="tx1">
                <a:lumMod val="50000"/>
                <a:lumOff val="50000"/>
              </a:schemeClr>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6AC3C1E3-8675-4CEC-B5F7-5D9DFD2DB80A}"/>
                </a:ext>
              </a:extLst>
            </p:cNvPr>
            <p:cNvSpPr/>
            <p:nvPr/>
          </p:nvSpPr>
          <p:spPr>
            <a:xfrm>
              <a:off x="2481568" y="4903820"/>
              <a:ext cx="7200228" cy="572745"/>
            </a:xfrm>
            <a:custGeom>
              <a:avLst/>
              <a:gdLst>
                <a:gd name="connsiteX0" fmla="*/ 30683 w 7200227"/>
                <a:gd name="connsiteY0" fmla="*/ 362057 h 572745"/>
                <a:gd name="connsiteX1" fmla="*/ 259781 w 7200227"/>
                <a:gd name="connsiteY1" fmla="*/ 562518 h 572745"/>
                <a:gd name="connsiteX2" fmla="*/ 3561249 w 7200227"/>
                <a:gd name="connsiteY2" fmla="*/ 562518 h 572745"/>
                <a:gd name="connsiteX3" fmla="*/ 3671707 w 7200227"/>
                <a:gd name="connsiteY3" fmla="*/ 562518 h 572745"/>
                <a:gd name="connsiteX4" fmla="*/ 6973175 w 7200227"/>
                <a:gd name="connsiteY4" fmla="*/ 562518 h 572745"/>
                <a:gd name="connsiteX5" fmla="*/ 7185909 w 7200227"/>
                <a:gd name="connsiteY5" fmla="*/ 362057 h 572745"/>
                <a:gd name="connsiteX6" fmla="*/ 7185909 w 7200227"/>
                <a:gd name="connsiteY6" fmla="*/ 30683 h 572745"/>
                <a:gd name="connsiteX7" fmla="*/ 30683 w 7200227"/>
                <a:gd name="connsiteY7" fmla="*/ 30683 h 572745"/>
                <a:gd name="connsiteX8" fmla="*/ 30683 w 7200227"/>
                <a:gd name="connsiteY8" fmla="*/ 362057 h 57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00227" h="572745">
                  <a:moveTo>
                    <a:pt x="30683" y="362057"/>
                  </a:moveTo>
                  <a:cubicBezTo>
                    <a:pt x="30683" y="464333"/>
                    <a:pt x="141141" y="562518"/>
                    <a:pt x="259781" y="562518"/>
                  </a:cubicBezTo>
                  <a:lnTo>
                    <a:pt x="3561249" y="562518"/>
                  </a:lnTo>
                  <a:lnTo>
                    <a:pt x="3671707" y="562518"/>
                  </a:lnTo>
                  <a:lnTo>
                    <a:pt x="6973175" y="562518"/>
                  </a:lnTo>
                  <a:cubicBezTo>
                    <a:pt x="7091815" y="562518"/>
                    <a:pt x="7185909" y="464333"/>
                    <a:pt x="7185909" y="362057"/>
                  </a:cubicBezTo>
                  <a:lnTo>
                    <a:pt x="7185909" y="30683"/>
                  </a:lnTo>
                  <a:lnTo>
                    <a:pt x="30683" y="30683"/>
                  </a:lnTo>
                  <a:lnTo>
                    <a:pt x="30683" y="362057"/>
                  </a:lnTo>
                  <a:close/>
                </a:path>
              </a:pathLst>
            </a:custGeom>
            <a:solidFill>
              <a:schemeClr val="bg1">
                <a:lumMod val="75000"/>
              </a:schemeClr>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1A55425F-9542-42DB-AE74-8E941186E3EE}"/>
                </a:ext>
              </a:extLst>
            </p:cNvPr>
            <p:cNvSpPr/>
            <p:nvPr/>
          </p:nvSpPr>
          <p:spPr>
            <a:xfrm>
              <a:off x="2747714" y="910966"/>
              <a:ext cx="6676116" cy="3763756"/>
            </a:xfrm>
            <a:custGeom>
              <a:avLst/>
              <a:gdLst>
                <a:gd name="connsiteX0" fmla="*/ 30683 w 6586571"/>
                <a:gd name="connsiteY0" fmla="*/ 30683 h 3763755"/>
                <a:gd name="connsiteX1" fmla="*/ 6564071 w 6586571"/>
                <a:gd name="connsiteY1" fmla="*/ 30683 h 3763755"/>
                <a:gd name="connsiteX2" fmla="*/ 6564071 w 6586571"/>
                <a:gd name="connsiteY2" fmla="*/ 3753528 h 3763755"/>
                <a:gd name="connsiteX3" fmla="*/ 30683 w 6586571"/>
                <a:gd name="connsiteY3" fmla="*/ 3753528 h 3763755"/>
              </a:gdLst>
              <a:ahLst/>
              <a:cxnLst>
                <a:cxn ang="0">
                  <a:pos x="connsiteX0" y="connsiteY0"/>
                </a:cxn>
                <a:cxn ang="0">
                  <a:pos x="connsiteX1" y="connsiteY1"/>
                </a:cxn>
                <a:cxn ang="0">
                  <a:pos x="connsiteX2" y="connsiteY2"/>
                </a:cxn>
                <a:cxn ang="0">
                  <a:pos x="connsiteX3" y="connsiteY3"/>
                </a:cxn>
              </a:cxnLst>
              <a:rect l="l" t="t" r="r" b="b"/>
              <a:pathLst>
                <a:path w="6586571" h="3763755">
                  <a:moveTo>
                    <a:pt x="30683" y="30683"/>
                  </a:moveTo>
                  <a:lnTo>
                    <a:pt x="6564071" y="30683"/>
                  </a:lnTo>
                  <a:lnTo>
                    <a:pt x="6564071" y="3753528"/>
                  </a:lnTo>
                  <a:lnTo>
                    <a:pt x="30683" y="3753528"/>
                  </a:lnTo>
                  <a:close/>
                </a:path>
              </a:pathLst>
            </a:custGeom>
            <a:solidFill>
              <a:srgbClr val="F2F2F2"/>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8C411EC-81DC-4EC4-8806-BFE9B4C536AF}"/>
                </a:ext>
              </a:extLst>
            </p:cNvPr>
            <p:cNvSpPr/>
            <p:nvPr/>
          </p:nvSpPr>
          <p:spPr>
            <a:xfrm>
              <a:off x="5654591" y="939518"/>
              <a:ext cx="3769239" cy="3736342"/>
            </a:xfrm>
            <a:custGeom>
              <a:avLst/>
              <a:gdLst>
                <a:gd name="connsiteX0" fmla="*/ 2567127 w 4009217"/>
                <a:gd name="connsiteY0" fmla="*/ 30683 h 4295590"/>
                <a:gd name="connsiteX1" fmla="*/ 3798529 w 4009217"/>
                <a:gd name="connsiteY1" fmla="*/ 30683 h 4295590"/>
                <a:gd name="connsiteX2" fmla="*/ 4007172 w 4009217"/>
                <a:gd name="connsiteY2" fmla="*/ 272054 h 4295590"/>
                <a:gd name="connsiteX3" fmla="*/ 3998990 w 4009217"/>
                <a:gd name="connsiteY3" fmla="*/ 4268999 h 4295590"/>
                <a:gd name="connsiteX4" fmla="*/ 30683 w 4009217"/>
                <a:gd name="connsiteY4" fmla="*/ 4268999 h 4295590"/>
                <a:gd name="connsiteX0" fmla="*/ 2536444 w 3976489"/>
                <a:gd name="connsiteY0" fmla="*/ 0 h 4238316"/>
                <a:gd name="connsiteX1" fmla="*/ 3976489 w 3976489"/>
                <a:gd name="connsiteY1" fmla="*/ 241371 h 4238316"/>
                <a:gd name="connsiteX2" fmla="*/ 3968307 w 3976489"/>
                <a:gd name="connsiteY2" fmla="*/ 4238316 h 4238316"/>
                <a:gd name="connsiteX3" fmla="*/ 0 w 3976489"/>
                <a:gd name="connsiteY3" fmla="*/ 4238316 h 4238316"/>
                <a:gd name="connsiteX0" fmla="*/ 2536444 w 3976489"/>
                <a:gd name="connsiteY0" fmla="*/ 0 h 4238316"/>
                <a:gd name="connsiteX1" fmla="*/ 3976489 w 3976489"/>
                <a:gd name="connsiteY1" fmla="*/ 213683 h 4238316"/>
                <a:gd name="connsiteX2" fmla="*/ 3968307 w 3976489"/>
                <a:gd name="connsiteY2" fmla="*/ 4238316 h 4238316"/>
                <a:gd name="connsiteX3" fmla="*/ 0 w 3976489"/>
                <a:gd name="connsiteY3" fmla="*/ 4238316 h 4238316"/>
                <a:gd name="connsiteX0" fmla="*/ 2473335 w 3976489"/>
                <a:gd name="connsiteY0" fmla="*/ 0 h 4035268"/>
                <a:gd name="connsiteX1" fmla="*/ 3976489 w 3976489"/>
                <a:gd name="connsiteY1" fmla="*/ 10635 h 4035268"/>
                <a:gd name="connsiteX2" fmla="*/ 3968307 w 3976489"/>
                <a:gd name="connsiteY2" fmla="*/ 4035268 h 4035268"/>
                <a:gd name="connsiteX3" fmla="*/ 0 w 3976489"/>
                <a:gd name="connsiteY3" fmla="*/ 4035268 h 4035268"/>
              </a:gdLst>
              <a:ahLst/>
              <a:cxnLst>
                <a:cxn ang="0">
                  <a:pos x="connsiteX0" y="connsiteY0"/>
                </a:cxn>
                <a:cxn ang="0">
                  <a:pos x="connsiteX1" y="connsiteY1"/>
                </a:cxn>
                <a:cxn ang="0">
                  <a:pos x="connsiteX2" y="connsiteY2"/>
                </a:cxn>
                <a:cxn ang="0">
                  <a:pos x="connsiteX3" y="connsiteY3"/>
                </a:cxn>
              </a:cxnLst>
              <a:rect l="l" t="t" r="r" b="b"/>
              <a:pathLst>
                <a:path w="3976489" h="4035268">
                  <a:moveTo>
                    <a:pt x="2473335" y="0"/>
                  </a:moveTo>
                  <a:lnTo>
                    <a:pt x="3976489" y="10635"/>
                  </a:lnTo>
                  <a:cubicBezTo>
                    <a:pt x="3973762" y="1342950"/>
                    <a:pt x="3971034" y="2702953"/>
                    <a:pt x="3968307" y="4035268"/>
                  </a:cubicBezTo>
                  <a:lnTo>
                    <a:pt x="0" y="4035268"/>
                  </a:lnTo>
                </a:path>
              </a:pathLst>
            </a:custGeom>
            <a:solidFill>
              <a:srgbClr val="999999">
                <a:alpha val="10000"/>
              </a:srgbClr>
            </a:solidFill>
            <a:ln w="9525" cap="flat">
              <a:noFill/>
              <a:prstDash val="solid"/>
              <a:miter/>
            </a:ln>
          </p:spPr>
          <p:txBody>
            <a:bodyPr rtlCol="0" anchor="ctr"/>
            <a:lstStyle/>
            <a:p>
              <a:endParaRPr lang="en-US" dirty="0"/>
            </a:p>
          </p:txBody>
        </p:sp>
      </p:grpSp>
      <p:sp>
        <p:nvSpPr>
          <p:cNvPr id="30" name="그림 개체 틀 2">
            <a:extLst>
              <a:ext uri="{FF2B5EF4-FFF2-40B4-BE49-F238E27FC236}">
                <a16:creationId xmlns:a16="http://schemas.microsoft.com/office/drawing/2014/main" id="{5CC06A6E-560A-491E-AE2A-E0B7C5EE6406}"/>
              </a:ext>
            </a:extLst>
          </p:cNvPr>
          <p:cNvSpPr>
            <a:spLocks noGrp="1"/>
          </p:cNvSpPr>
          <p:nvPr>
            <p:ph type="pic" sz="quarter" idx="14" hasCustomPrompt="1"/>
          </p:nvPr>
        </p:nvSpPr>
        <p:spPr>
          <a:xfrm>
            <a:off x="4290236" y="1690027"/>
            <a:ext cx="3747829" cy="2184495"/>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 And Send To Back</a:t>
            </a:r>
            <a:endParaRPr lang="ko-KR" altLang="en-US" dirty="0"/>
          </a:p>
        </p:txBody>
      </p:sp>
      <p:sp>
        <p:nvSpPr>
          <p:cNvPr id="31" name="그림 개체 틀 2">
            <a:extLst>
              <a:ext uri="{FF2B5EF4-FFF2-40B4-BE49-F238E27FC236}">
                <a16:creationId xmlns:a16="http://schemas.microsoft.com/office/drawing/2014/main" id="{9F745565-7D61-4424-9B10-0F7F8DD8AE95}"/>
              </a:ext>
            </a:extLst>
          </p:cNvPr>
          <p:cNvSpPr>
            <a:spLocks noGrp="1"/>
          </p:cNvSpPr>
          <p:nvPr>
            <p:ph type="pic" sz="quarter" idx="16" hasCustomPrompt="1"/>
          </p:nvPr>
        </p:nvSpPr>
        <p:spPr>
          <a:xfrm>
            <a:off x="918338" y="2295607"/>
            <a:ext cx="2513477" cy="1497642"/>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32" name="그림 개체 틀 2">
            <a:extLst>
              <a:ext uri="{FF2B5EF4-FFF2-40B4-BE49-F238E27FC236}">
                <a16:creationId xmlns:a16="http://schemas.microsoft.com/office/drawing/2014/main" id="{5025294E-0FC3-4EF0-928F-11DCB45D72EF}"/>
              </a:ext>
            </a:extLst>
          </p:cNvPr>
          <p:cNvSpPr>
            <a:spLocks noGrp="1"/>
          </p:cNvSpPr>
          <p:nvPr>
            <p:ph type="pic" sz="quarter" idx="33" hasCustomPrompt="1"/>
          </p:nvPr>
        </p:nvSpPr>
        <p:spPr>
          <a:xfrm>
            <a:off x="8868450" y="2295607"/>
            <a:ext cx="2513477" cy="1497642"/>
          </a:xfrm>
          <a:prstGeom prst="rect">
            <a:avLst/>
          </a:prstGeom>
          <a:solidFill>
            <a:schemeClr val="bg1">
              <a:lumMod val="95000"/>
            </a:schemeClr>
          </a:solidFill>
        </p:spPr>
        <p:txBody>
          <a:bodyPr anchor="ctr"/>
          <a:lstStyle>
            <a:lvl1pPr marL="0" indent="0" algn="ctr">
              <a:buNone/>
              <a:defRPr sz="1200">
                <a:solidFill>
                  <a:schemeClr val="tx1">
                    <a:lumMod val="75000"/>
                    <a:lumOff val="25000"/>
                  </a:schemeClr>
                </a:solidFill>
              </a:defRPr>
            </a:lvl1pPr>
          </a:lstStyle>
          <a:p>
            <a:r>
              <a:rPr lang="en-US" altLang="ko-KR" dirty="0"/>
              <a:t>Place Your Picture Here</a:t>
            </a:r>
            <a:endParaRPr lang="ko-KR" altLang="en-US" dirty="0"/>
          </a:p>
        </p:txBody>
      </p:sp>
      <p:sp>
        <p:nvSpPr>
          <p:cNvPr id="33" name="Text Placeholder 9">
            <a:extLst>
              <a:ext uri="{FF2B5EF4-FFF2-40B4-BE49-F238E27FC236}">
                <a16:creationId xmlns:a16="http://schemas.microsoft.com/office/drawing/2014/main" id="{10976E99-DCBD-4134-9E57-1CAE25A6CBDA}"/>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29871316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4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8168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Contents slide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2FE957E-B654-4424-ACDA-8DED4BC6F6D5}"/>
              </a:ext>
            </a:extLst>
          </p:cNvPr>
          <p:cNvSpPr>
            <a:spLocks noGrp="1"/>
          </p:cNvSpPr>
          <p:nvPr>
            <p:ph type="pic" idx="12"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733116 h 6858000"/>
              <a:gd name="connsiteX3" fmla="*/ 11907421 w 12192000"/>
              <a:gd name="connsiteY3" fmla="*/ 754971 h 6858000"/>
              <a:gd name="connsiteX4" fmla="*/ 4835485 w 12192000"/>
              <a:gd name="connsiteY4" fmla="*/ 4225159 h 6858000"/>
              <a:gd name="connsiteX5" fmla="*/ 3131054 w 12192000"/>
              <a:gd name="connsiteY5" fmla="*/ 6545165 h 6858000"/>
              <a:gd name="connsiteX6" fmla="*/ 2967653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733116"/>
                </a:lnTo>
                <a:lnTo>
                  <a:pt x="11907421" y="754971"/>
                </a:lnTo>
                <a:cubicBezTo>
                  <a:pt x="9224455" y="1029960"/>
                  <a:pt x="6712117" y="2253165"/>
                  <a:pt x="4835485" y="4225159"/>
                </a:cubicBezTo>
                <a:cubicBezTo>
                  <a:pt x="4165259" y="4929443"/>
                  <a:pt x="3594441" y="5709981"/>
                  <a:pt x="3131054" y="6545165"/>
                </a:cubicBezTo>
                <a:lnTo>
                  <a:pt x="2967653" y="6858000"/>
                </a:lnTo>
                <a:lnTo>
                  <a:pt x="0" y="6858000"/>
                </a:lnTo>
                <a:close/>
              </a:path>
            </a:pathLst>
          </a:custGeom>
          <a:solidFill>
            <a:schemeClr val="bg1">
              <a:lumMod val="95000"/>
            </a:schemeClr>
          </a:solidFill>
          <a:ln w="50800">
            <a:noFill/>
          </a:ln>
        </p:spPr>
        <p:txBody>
          <a:bodyPr wrap="square" lIns="1737360" tIns="2194560" anchor="t">
            <a:noAutofit/>
          </a:bodyPr>
          <a:lstStyle>
            <a:lvl1pPr marL="0" indent="0" algn="l">
              <a:buNone/>
              <a:defRPr sz="2000" baseline="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nd Send To Back</a:t>
            </a:r>
            <a:endParaRPr lang="ko-KR" altLang="en-US" dirty="0"/>
          </a:p>
        </p:txBody>
      </p:sp>
    </p:spTree>
    <p:extLst>
      <p:ext uri="{BB962C8B-B14F-4D97-AF65-F5344CB8AC3E}">
        <p14:creationId xmlns:p14="http://schemas.microsoft.com/office/powerpoint/2010/main" val="29816551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6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8589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7_Contents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0068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248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1084614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7DAFC-00C3-45C0-A17D-04990C4A46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4D3538B-3C33-4C77-82B9-2A99CD70E7FB}"/>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4" name="Footer Placeholder 3">
            <a:extLst>
              <a:ext uri="{FF2B5EF4-FFF2-40B4-BE49-F238E27FC236}">
                <a16:creationId xmlns:a16="http://schemas.microsoft.com/office/drawing/2014/main" id="{8A280DE4-8B0E-4F1C-97B3-4F3D050E7B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89298F-02ED-434A-A018-4D82C14393BF}"/>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42426254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id="{BAAC314F-E96A-4408-95DE-A70E9ED054AF}"/>
              </a:ext>
            </a:extLst>
          </p:cNvPr>
          <p:cNvSpPr txBox="1"/>
          <p:nvPr userDrawn="1"/>
        </p:nvSpPr>
        <p:spPr>
          <a:xfrm>
            <a:off x="721229" y="4450324"/>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28962829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dirty="0"/>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12554553" y="1"/>
            <a:ext cx="1647523" cy="1816099"/>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36731560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01C9A-A75C-449F-9997-D6FD9E019F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190CDB9-4912-434E-BFBB-CCB054C92B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8D90D1A-1E82-4FFC-A895-9AB395BB6CD4}"/>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5" name="Footer Placeholder 4">
            <a:extLst>
              <a:ext uri="{FF2B5EF4-FFF2-40B4-BE49-F238E27FC236}">
                <a16:creationId xmlns:a16="http://schemas.microsoft.com/office/drawing/2014/main" id="{95A72659-BE55-426A-9357-1205699E2A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9779EA-3F9B-4920-9F4D-7B95C67ACA38}"/>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32758262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420B4-8659-444E-A265-900C7CF763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2C5C6A-C8BE-4DAC-8CF5-48B888B4AD1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63DFC3-DB42-4EDA-B205-7F07DEABA09A}"/>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5" name="Footer Placeholder 4">
            <a:extLst>
              <a:ext uri="{FF2B5EF4-FFF2-40B4-BE49-F238E27FC236}">
                <a16:creationId xmlns:a16="http://schemas.microsoft.com/office/drawing/2014/main" id="{9B7354BA-8E1E-4C55-AD3F-085D1BEA17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59CB7C-02BE-4BD1-89F2-BB3012DB5472}"/>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28269419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C81-A928-4CDB-B91D-B5951D22E3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9F8F28-3B3E-4ED2-A761-6F1F658109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F54F6C-E376-4D20-BE2F-6B46D7D6C8E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3BCBBB4-F68E-48AD-8174-B8F145AC5053}"/>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6" name="Footer Placeholder 5">
            <a:extLst>
              <a:ext uri="{FF2B5EF4-FFF2-40B4-BE49-F238E27FC236}">
                <a16:creationId xmlns:a16="http://schemas.microsoft.com/office/drawing/2014/main" id="{D65EF969-329A-4710-8348-D94878D817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729846-B37D-4621-B4D1-8BC53F7367EF}"/>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3742064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44967-3BD7-4684-B927-271DF51BC1D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AAC769-0AA9-4FA9-890E-1BF4E838DB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1A628E-CED8-4BB8-AEEF-E7503A92CB2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5B0D1F-427C-4D21-BC44-8CB007B49A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9B2ADE-B8AB-4BAF-8406-E840E2701E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1C7838-429E-497B-BD6A-D88422C61C6B}"/>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8" name="Footer Placeholder 7">
            <a:extLst>
              <a:ext uri="{FF2B5EF4-FFF2-40B4-BE49-F238E27FC236}">
                <a16:creationId xmlns:a16="http://schemas.microsoft.com/office/drawing/2014/main" id="{A8556492-65A6-409C-9786-0B51D14D28F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E5B39A-FFD8-4B96-ABFB-A9EE3894922F}"/>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18018516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7DAFC-00C3-45C0-A17D-04990C4A46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4D3538B-3C33-4C77-82B9-2A99CD70E7FB}"/>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4" name="Footer Placeholder 3">
            <a:extLst>
              <a:ext uri="{FF2B5EF4-FFF2-40B4-BE49-F238E27FC236}">
                <a16:creationId xmlns:a16="http://schemas.microsoft.com/office/drawing/2014/main" id="{8A280DE4-8B0E-4F1C-97B3-4F3D050E7B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89298F-02ED-434A-A018-4D82C14393BF}"/>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37994226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114167-D634-43B9-A266-C46496365F40}"/>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3" name="Footer Placeholder 2">
            <a:extLst>
              <a:ext uri="{FF2B5EF4-FFF2-40B4-BE49-F238E27FC236}">
                <a16:creationId xmlns:a16="http://schemas.microsoft.com/office/drawing/2014/main" id="{48532553-201A-43FB-B5A9-86200F255E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911305-7399-487C-A4DD-8F6E2817CE6C}"/>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36684702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10D3C-2032-43D4-B0C2-FF66816FBB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C32417-1FF4-4D57-957C-069A8FAD80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58A608-E6F1-4EFE-9361-559EEA7265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FED2BB-5EB0-4B77-BB13-D61AF0AA4F34}"/>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6" name="Footer Placeholder 5">
            <a:extLst>
              <a:ext uri="{FF2B5EF4-FFF2-40B4-BE49-F238E27FC236}">
                <a16:creationId xmlns:a16="http://schemas.microsoft.com/office/drawing/2014/main" id="{920F733E-E129-42CB-B485-DEF2E504E9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E04CA9-0C04-4FF3-A872-16A3B469A958}"/>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6119922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FDF4-D1EC-4D13-A161-7B458E4322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33328F-0B9E-4CEF-9108-C65A218E96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DB7C44-B7BA-4D1D-8CC7-DB352681E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F34BA2-FA21-4EEF-B961-3BAC5F7B0F65}"/>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6" name="Footer Placeholder 5">
            <a:extLst>
              <a:ext uri="{FF2B5EF4-FFF2-40B4-BE49-F238E27FC236}">
                <a16:creationId xmlns:a16="http://schemas.microsoft.com/office/drawing/2014/main" id="{664A09BC-EE60-4E65-BC8D-86CE5CD8EB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8248C7-DBF9-4155-A28A-100E4FC62303}"/>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20437894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114167-D634-43B9-A266-C46496365F40}"/>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3" name="Footer Placeholder 2">
            <a:extLst>
              <a:ext uri="{FF2B5EF4-FFF2-40B4-BE49-F238E27FC236}">
                <a16:creationId xmlns:a16="http://schemas.microsoft.com/office/drawing/2014/main" id="{48532553-201A-43FB-B5A9-86200F255E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911305-7399-487C-A4DD-8F6E2817CE6C}"/>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20001168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9C680-BAA2-429C-86B9-A95368BF9B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6E6F91-ACF1-4716-BE71-90733AFB52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67E9E4-16A2-4BA4-964B-830CC2902265}"/>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5" name="Footer Placeholder 4">
            <a:extLst>
              <a:ext uri="{FF2B5EF4-FFF2-40B4-BE49-F238E27FC236}">
                <a16:creationId xmlns:a16="http://schemas.microsoft.com/office/drawing/2014/main" id="{3DC878F0-FDB8-47F9-B76A-52D0AD7971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A22102-CEA7-400A-A098-3A7CF49691DB}"/>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7490663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25B3F6-E21C-4F70-BEA9-7D78D635D45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5367D0-8D1F-4927-8640-9E148080B53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F2D9E4-B3A8-4463-9CAF-ABCC25C44893}"/>
              </a:ext>
            </a:extLst>
          </p:cNvPr>
          <p:cNvSpPr>
            <a:spLocks noGrp="1"/>
          </p:cNvSpPr>
          <p:nvPr>
            <p:ph type="dt" sz="half" idx="10"/>
          </p:nvPr>
        </p:nvSpPr>
        <p:spPr/>
        <p:txBody>
          <a:bodyPr/>
          <a:lstStyle/>
          <a:p>
            <a:fld id="{9F02C998-F9CD-4035-9D87-EB5F5FE4597E}" type="datetimeFigureOut">
              <a:rPr lang="en-US" smtClean="0"/>
              <a:pPr/>
              <a:t>3/5/2024</a:t>
            </a:fld>
            <a:endParaRPr lang="en-US"/>
          </a:p>
        </p:txBody>
      </p:sp>
      <p:sp>
        <p:nvSpPr>
          <p:cNvPr id="5" name="Footer Placeholder 4">
            <a:extLst>
              <a:ext uri="{FF2B5EF4-FFF2-40B4-BE49-F238E27FC236}">
                <a16:creationId xmlns:a16="http://schemas.microsoft.com/office/drawing/2014/main" id="{D9CAA2E4-D159-4E3A-83DA-9CC327BDB7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3ED68B-214D-4EEF-80CC-543CDC082525}"/>
              </a:ext>
            </a:extLst>
          </p:cNvPr>
          <p:cNvSpPr>
            <a:spLocks noGrp="1"/>
          </p:cNvSpPr>
          <p:nvPr>
            <p:ph type="sldNum" sz="quarter" idx="12"/>
          </p:nvPr>
        </p:nvSpPr>
        <p:spPr/>
        <p:txBody>
          <a:bodyPr/>
          <a:lstStyle/>
          <a:p>
            <a:fld id="{2F42E72F-E88F-4F56-9A98-09945F386881}" type="slidenum">
              <a:rPr lang="en-US" smtClean="0"/>
              <a:pPr/>
              <a:t>‹#›</a:t>
            </a:fld>
            <a:endParaRPr lang="en-US"/>
          </a:p>
        </p:txBody>
      </p:sp>
    </p:spTree>
    <p:extLst>
      <p:ext uri="{BB962C8B-B14F-4D97-AF65-F5344CB8AC3E}">
        <p14:creationId xmlns:p14="http://schemas.microsoft.com/office/powerpoint/2010/main" val="41670263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Contents slide layout">
    <p:spTree>
      <p:nvGrpSpPr>
        <p:cNvPr id="1" name=""/>
        <p:cNvGrpSpPr/>
        <p:nvPr/>
      </p:nvGrpSpPr>
      <p:grpSpPr>
        <a:xfrm>
          <a:off x="0" y="0"/>
          <a:ext cx="0" cy="0"/>
          <a:chOff x="0" y="0"/>
          <a:chExt cx="0" cy="0"/>
        </a:xfrm>
      </p:grpSpPr>
      <p:pic>
        <p:nvPicPr>
          <p:cNvPr id="10" name="Picture 9" descr="A group of stars in the sky&#10;&#10;Description automatically generated with low confidence">
            <a:extLst>
              <a:ext uri="{FF2B5EF4-FFF2-40B4-BE49-F238E27FC236}">
                <a16:creationId xmlns:a16="http://schemas.microsoft.com/office/drawing/2014/main" id="{F14897F2-C922-4B0A-801C-E2D586063D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015694" y="4610100"/>
            <a:ext cx="3176304" cy="2247899"/>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sp>
        <p:nvSpPr>
          <p:cNvPr id="13" name="Teardrop 12">
            <a:extLst>
              <a:ext uri="{FF2B5EF4-FFF2-40B4-BE49-F238E27FC236}">
                <a16:creationId xmlns:a16="http://schemas.microsoft.com/office/drawing/2014/main" id="{D4865054-F17C-44D6-9476-8C4B38B71140}"/>
              </a:ext>
            </a:extLst>
          </p:cNvPr>
          <p:cNvSpPr/>
          <p:nvPr userDrawn="1"/>
        </p:nvSpPr>
        <p:spPr>
          <a:xfrm>
            <a:off x="11541412" y="405700"/>
            <a:ext cx="356581" cy="356477"/>
          </a:xfrm>
          <a:prstGeom prst="teardrop">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Light"/>
            </a:endParaRPr>
          </a:p>
        </p:txBody>
      </p:sp>
      <p:sp>
        <p:nvSpPr>
          <p:cNvPr id="14" name="TextBox 13">
            <a:extLst>
              <a:ext uri="{FF2B5EF4-FFF2-40B4-BE49-F238E27FC236}">
                <a16:creationId xmlns:a16="http://schemas.microsoft.com/office/drawing/2014/main" id="{AC6EBB5E-66D4-4BF1-B98F-71FF29B8CF4C}"/>
              </a:ext>
            </a:extLst>
          </p:cNvPr>
          <p:cNvSpPr txBox="1"/>
          <p:nvPr userDrawn="1"/>
        </p:nvSpPr>
        <p:spPr>
          <a:xfrm>
            <a:off x="11533693" y="409841"/>
            <a:ext cx="391419" cy="307758"/>
          </a:xfrm>
          <a:prstGeom prst="rect">
            <a:avLst/>
          </a:prstGeom>
          <a:noFill/>
        </p:spPr>
        <p:txBody>
          <a:bodyPr wrap="none" lIns="91423" tIns="45711" rIns="91423" bIns="45711" rtlCol="0">
            <a:spAutoFit/>
          </a:bodyPr>
          <a:lstStyle/>
          <a:p>
            <a:pPr algn="ctr"/>
            <a:fld id="{260E2A6B-A809-4840-BF14-8648BC0BDF87}" type="slidenum">
              <a:rPr lang="id-ID" sz="1400" b="1" smtClean="0">
                <a:solidFill>
                  <a:schemeClr val="bg1"/>
                </a:solidFill>
                <a:latin typeface="Calibri Light"/>
                <a:cs typeface="Calibri Light"/>
              </a:rPr>
              <a:pPr algn="ctr"/>
              <a:t>‹#›</a:t>
            </a:fld>
            <a:endParaRPr lang="id-ID" sz="1400" dirty="0">
              <a:solidFill>
                <a:schemeClr val="bg1"/>
              </a:solidFill>
              <a:latin typeface="Calibri Light"/>
              <a:cs typeface="Calibri Light"/>
            </a:endParaRPr>
          </a:p>
        </p:txBody>
      </p:sp>
      <p:sp>
        <p:nvSpPr>
          <p:cNvPr id="6" name="Google Shape;59;p8">
            <a:extLst>
              <a:ext uri="{FF2B5EF4-FFF2-40B4-BE49-F238E27FC236}">
                <a16:creationId xmlns:a16="http://schemas.microsoft.com/office/drawing/2014/main" id="{38D36DEF-C276-4D06-AB4E-7C9451AB9E78}"/>
              </a:ext>
            </a:extLst>
          </p:cNvPr>
          <p:cNvSpPr/>
          <p:nvPr userDrawn="1"/>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7" name="Google Shape;60;p8">
            <a:extLst>
              <a:ext uri="{FF2B5EF4-FFF2-40B4-BE49-F238E27FC236}">
                <a16:creationId xmlns:a16="http://schemas.microsoft.com/office/drawing/2014/main" id="{FEFFE232-732C-48FB-80D6-67402241FB80}"/>
              </a:ext>
            </a:extLst>
          </p:cNvPr>
          <p:cNvSpPr/>
          <p:nvPr userDrawn="1"/>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8" name="Google Shape;61;p8">
            <a:extLst>
              <a:ext uri="{FF2B5EF4-FFF2-40B4-BE49-F238E27FC236}">
                <a16:creationId xmlns:a16="http://schemas.microsoft.com/office/drawing/2014/main" id="{E11F6DF0-0997-485A-B006-17F77AD9DCC4}"/>
              </a:ext>
            </a:extLst>
          </p:cNvPr>
          <p:cNvSpPr/>
          <p:nvPr userDrawn="1"/>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9" name="Google Shape;62;p8">
            <a:extLst>
              <a:ext uri="{FF2B5EF4-FFF2-40B4-BE49-F238E27FC236}">
                <a16:creationId xmlns:a16="http://schemas.microsoft.com/office/drawing/2014/main" id="{E4F3B6C4-B48B-4ED1-96C8-F660D9C71455}"/>
              </a:ext>
            </a:extLst>
          </p:cNvPr>
          <p:cNvSpPr/>
          <p:nvPr userDrawn="1"/>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Tree>
    <p:extLst>
      <p:ext uri="{BB962C8B-B14F-4D97-AF65-F5344CB8AC3E}">
        <p14:creationId xmlns:p14="http://schemas.microsoft.com/office/powerpoint/2010/main" val="16955229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ontents slide layout">
    <p:spTree>
      <p:nvGrpSpPr>
        <p:cNvPr id="1" name=""/>
        <p:cNvGrpSpPr/>
        <p:nvPr/>
      </p:nvGrpSpPr>
      <p:grpSpPr>
        <a:xfrm>
          <a:off x="0" y="0"/>
          <a:ext cx="0" cy="0"/>
          <a:chOff x="0" y="0"/>
          <a:chExt cx="0" cy="0"/>
        </a:xfrm>
      </p:grpSpPr>
      <p:pic>
        <p:nvPicPr>
          <p:cNvPr id="10" name="Picture 9" descr="A group of stars in the sky&#10;&#10;Description automatically generated with low confidence">
            <a:extLst>
              <a:ext uri="{FF2B5EF4-FFF2-40B4-BE49-F238E27FC236}">
                <a16:creationId xmlns:a16="http://schemas.microsoft.com/office/drawing/2014/main" id="{F14897F2-C922-4B0A-801C-E2D586063D6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80832" y="5505450"/>
            <a:ext cx="1911166" cy="1352549"/>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sp>
        <p:nvSpPr>
          <p:cNvPr id="13" name="Teardrop 12">
            <a:extLst>
              <a:ext uri="{FF2B5EF4-FFF2-40B4-BE49-F238E27FC236}">
                <a16:creationId xmlns:a16="http://schemas.microsoft.com/office/drawing/2014/main" id="{D4865054-F17C-44D6-9476-8C4B38B71140}"/>
              </a:ext>
            </a:extLst>
          </p:cNvPr>
          <p:cNvSpPr/>
          <p:nvPr userDrawn="1"/>
        </p:nvSpPr>
        <p:spPr>
          <a:xfrm>
            <a:off x="11541412" y="405700"/>
            <a:ext cx="356581" cy="356477"/>
          </a:xfrm>
          <a:prstGeom prst="teardrop">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Light"/>
            </a:endParaRPr>
          </a:p>
        </p:txBody>
      </p:sp>
      <p:sp>
        <p:nvSpPr>
          <p:cNvPr id="14" name="TextBox 13">
            <a:extLst>
              <a:ext uri="{FF2B5EF4-FFF2-40B4-BE49-F238E27FC236}">
                <a16:creationId xmlns:a16="http://schemas.microsoft.com/office/drawing/2014/main" id="{AC6EBB5E-66D4-4BF1-B98F-71FF29B8CF4C}"/>
              </a:ext>
            </a:extLst>
          </p:cNvPr>
          <p:cNvSpPr txBox="1"/>
          <p:nvPr userDrawn="1"/>
        </p:nvSpPr>
        <p:spPr>
          <a:xfrm>
            <a:off x="11533693" y="409841"/>
            <a:ext cx="391419" cy="307758"/>
          </a:xfrm>
          <a:prstGeom prst="rect">
            <a:avLst/>
          </a:prstGeom>
          <a:noFill/>
        </p:spPr>
        <p:txBody>
          <a:bodyPr wrap="none" lIns="91423" tIns="45711" rIns="91423" bIns="45711" rtlCol="0">
            <a:spAutoFit/>
          </a:bodyPr>
          <a:lstStyle/>
          <a:p>
            <a:pPr algn="ctr"/>
            <a:fld id="{260E2A6B-A809-4840-BF14-8648BC0BDF87}" type="slidenum">
              <a:rPr lang="id-ID" sz="1400" b="1" smtClean="0">
                <a:solidFill>
                  <a:schemeClr val="bg1"/>
                </a:solidFill>
                <a:latin typeface="Calibri Light"/>
                <a:cs typeface="Calibri Light"/>
              </a:rPr>
              <a:pPr algn="ctr"/>
              <a:t>‹#›</a:t>
            </a:fld>
            <a:endParaRPr lang="id-ID" sz="1400" dirty="0">
              <a:solidFill>
                <a:schemeClr val="bg1"/>
              </a:solidFill>
              <a:latin typeface="Calibri Light"/>
              <a:cs typeface="Calibri Light"/>
            </a:endParaRPr>
          </a:p>
        </p:txBody>
      </p:sp>
      <p:sp>
        <p:nvSpPr>
          <p:cNvPr id="6" name="Google Shape;59;p8">
            <a:extLst>
              <a:ext uri="{FF2B5EF4-FFF2-40B4-BE49-F238E27FC236}">
                <a16:creationId xmlns:a16="http://schemas.microsoft.com/office/drawing/2014/main" id="{38D36DEF-C276-4D06-AB4E-7C9451AB9E78}"/>
              </a:ext>
            </a:extLst>
          </p:cNvPr>
          <p:cNvSpPr/>
          <p:nvPr userDrawn="1"/>
        </p:nvSpPr>
        <p:spPr>
          <a:xfrm>
            <a:off x="9808488" y="6755100"/>
            <a:ext cx="1191600" cy="102800"/>
          </a:xfrm>
          <a:prstGeom prst="rect">
            <a:avLst/>
          </a:prstGeom>
          <a:solidFill>
            <a:schemeClr val="accent4"/>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7" name="Google Shape;60;p8">
            <a:extLst>
              <a:ext uri="{FF2B5EF4-FFF2-40B4-BE49-F238E27FC236}">
                <a16:creationId xmlns:a16="http://schemas.microsoft.com/office/drawing/2014/main" id="{FEFFE232-732C-48FB-80D6-67402241FB80}"/>
              </a:ext>
            </a:extLst>
          </p:cNvPr>
          <p:cNvSpPr/>
          <p:nvPr userDrawn="1"/>
        </p:nvSpPr>
        <p:spPr>
          <a:xfrm>
            <a:off x="11000416" y="6755100"/>
            <a:ext cx="1191600" cy="102800"/>
          </a:xfrm>
          <a:prstGeom prst="rect">
            <a:avLst/>
          </a:pr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8" name="Google Shape;61;p8">
            <a:extLst>
              <a:ext uri="{FF2B5EF4-FFF2-40B4-BE49-F238E27FC236}">
                <a16:creationId xmlns:a16="http://schemas.microsoft.com/office/drawing/2014/main" id="{E11F6DF0-0997-485A-B006-17F77AD9DCC4}"/>
              </a:ext>
            </a:extLst>
          </p:cNvPr>
          <p:cNvSpPr/>
          <p:nvPr userDrawn="1"/>
        </p:nvSpPr>
        <p:spPr>
          <a:xfrm>
            <a:off x="0" y="6755100"/>
            <a:ext cx="1191600" cy="102800"/>
          </a:xfrm>
          <a:prstGeom prst="rect">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
        <p:nvSpPr>
          <p:cNvPr id="9" name="Google Shape;62;p8">
            <a:extLst>
              <a:ext uri="{FF2B5EF4-FFF2-40B4-BE49-F238E27FC236}">
                <a16:creationId xmlns:a16="http://schemas.microsoft.com/office/drawing/2014/main" id="{E4F3B6C4-B48B-4ED1-96C8-F660D9C71455}"/>
              </a:ext>
            </a:extLst>
          </p:cNvPr>
          <p:cNvSpPr/>
          <p:nvPr userDrawn="1"/>
        </p:nvSpPr>
        <p:spPr>
          <a:xfrm>
            <a:off x="1191613" y="6755100"/>
            <a:ext cx="8616800" cy="1028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dirty="0"/>
          </a:p>
        </p:txBody>
      </p:sp>
    </p:spTree>
    <p:extLst>
      <p:ext uri="{BB962C8B-B14F-4D97-AF65-F5344CB8AC3E}">
        <p14:creationId xmlns:p14="http://schemas.microsoft.com/office/powerpoint/2010/main" val="3534869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10D3C-2032-43D4-B0C2-FF66816FBB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C32417-1FF4-4D57-957C-069A8FAD80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58A608-E6F1-4EFE-9361-559EEA7265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FED2BB-5EB0-4B77-BB13-D61AF0AA4F34}"/>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6" name="Footer Placeholder 5">
            <a:extLst>
              <a:ext uri="{FF2B5EF4-FFF2-40B4-BE49-F238E27FC236}">
                <a16:creationId xmlns:a16="http://schemas.microsoft.com/office/drawing/2014/main" id="{920F733E-E129-42CB-B485-DEF2E504E9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E04CA9-0C04-4FF3-A872-16A3B469A958}"/>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1819100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FDF4-D1EC-4D13-A161-7B458E4322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33328F-0B9E-4CEF-9108-C65A218E96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DB7C44-B7BA-4D1D-8CC7-DB352681E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F34BA2-FA21-4EEF-B961-3BAC5F7B0F65}"/>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6" name="Footer Placeholder 5">
            <a:extLst>
              <a:ext uri="{FF2B5EF4-FFF2-40B4-BE49-F238E27FC236}">
                <a16:creationId xmlns:a16="http://schemas.microsoft.com/office/drawing/2014/main" id="{664A09BC-EE60-4E65-BC8D-86CE5CD8EB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8248C7-DBF9-4155-A28A-100E4FC62303}"/>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3338701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9C680-BAA2-429C-86B9-A95368BF9BB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6E6F91-ACF1-4716-BE71-90733AFB52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67E9E4-16A2-4BA4-964B-830CC2902265}"/>
              </a:ext>
            </a:extLst>
          </p:cNvPr>
          <p:cNvSpPr>
            <a:spLocks noGrp="1"/>
          </p:cNvSpPr>
          <p:nvPr>
            <p:ph type="dt" sz="half" idx="10"/>
          </p:nvPr>
        </p:nvSpPr>
        <p:spPr/>
        <p:txBody>
          <a:bodyPr/>
          <a:lstStyle/>
          <a:p>
            <a:fld id="{9F02C998-F9CD-4035-9D87-EB5F5FE4597E}" type="datetimeFigureOut">
              <a:rPr lang="en-US" smtClean="0"/>
              <a:t>3/5/2024</a:t>
            </a:fld>
            <a:endParaRPr lang="en-US"/>
          </a:p>
        </p:txBody>
      </p:sp>
      <p:sp>
        <p:nvSpPr>
          <p:cNvPr id="5" name="Footer Placeholder 4">
            <a:extLst>
              <a:ext uri="{FF2B5EF4-FFF2-40B4-BE49-F238E27FC236}">
                <a16:creationId xmlns:a16="http://schemas.microsoft.com/office/drawing/2014/main" id="{3DC878F0-FDB8-47F9-B76A-52D0AD7971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A22102-CEA7-400A-A098-3A7CF49691DB}"/>
              </a:ext>
            </a:extLst>
          </p:cNvPr>
          <p:cNvSpPr>
            <a:spLocks noGrp="1"/>
          </p:cNvSpPr>
          <p:nvPr>
            <p:ph type="sldNum" sz="quarter" idx="12"/>
          </p:nvPr>
        </p:nvSpPr>
        <p:spPr/>
        <p:txBody>
          <a:bodyPr/>
          <a:lstStyle/>
          <a:p>
            <a:fld id="{2F42E72F-E88F-4F56-9A98-09945F386881}" type="slidenum">
              <a:rPr lang="en-US" smtClean="0"/>
              <a:t>‹#›</a:t>
            </a:fld>
            <a:endParaRPr lang="en-US"/>
          </a:p>
        </p:txBody>
      </p:sp>
    </p:spTree>
    <p:extLst>
      <p:ext uri="{BB962C8B-B14F-4D97-AF65-F5344CB8AC3E}">
        <p14:creationId xmlns:p14="http://schemas.microsoft.com/office/powerpoint/2010/main" val="4173881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4.xml"/><Relationship Id="rId1" Type="http://schemas.openxmlformats.org/officeDocument/2006/relationships/slideLayout" Target="../slideLayouts/slideLayout51.xml"/><Relationship Id="rId4" Type="http://schemas.openxmlformats.org/officeDocument/2006/relationships/image" Target="../media/image19.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5E5E76-6F03-45F8-BA21-C03A656D47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7468DA-B719-447E-B700-1D05A94C90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BEAABD-7082-4B1D-A92F-4345835788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02C998-F9CD-4035-9D87-EB5F5FE4597E}" type="datetimeFigureOut">
              <a:rPr lang="en-US" smtClean="0"/>
              <a:t>3/5/2024</a:t>
            </a:fld>
            <a:endParaRPr lang="en-US"/>
          </a:p>
        </p:txBody>
      </p:sp>
      <p:sp>
        <p:nvSpPr>
          <p:cNvPr id="5" name="Footer Placeholder 4">
            <a:extLst>
              <a:ext uri="{FF2B5EF4-FFF2-40B4-BE49-F238E27FC236}">
                <a16:creationId xmlns:a16="http://schemas.microsoft.com/office/drawing/2014/main" id="{5596496E-F991-4ABD-9F82-E3FDC0ECEF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6C989B-F7AC-46B2-B866-179F59FAB8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42E72F-E88F-4F56-9A98-09945F386881}" type="slidenum">
              <a:rPr lang="en-US" smtClean="0"/>
              <a:t>‹#›</a:t>
            </a:fld>
            <a:endParaRPr lang="en-US"/>
          </a:p>
        </p:txBody>
      </p:sp>
    </p:spTree>
    <p:extLst>
      <p:ext uri="{BB962C8B-B14F-4D97-AF65-F5344CB8AC3E}">
        <p14:creationId xmlns:p14="http://schemas.microsoft.com/office/powerpoint/2010/main" val="3162442038"/>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1" r:id="rId11"/>
    <p:sldLayoutId id="21474836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60711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690794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63482"/>
            <a:ext cx="10515600" cy="739056"/>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838200" y="1219200"/>
            <a:ext cx="10515600" cy="4957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6305911"/>
            <a:ext cx="12192000" cy="552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www.</a:t>
            </a:r>
            <a:r>
              <a:rPr kumimoji="0" lang="en-US" sz="3200" b="0" i="0" u="none" strike="noStrike" kern="1200" cap="none" spc="150" normalizeH="0" baseline="0" noProof="0" dirty="0">
                <a:ln>
                  <a:noFill/>
                </a:ln>
                <a:solidFill>
                  <a:prstClr val="black">
                    <a:lumMod val="85000"/>
                    <a:lumOff val="15000"/>
                  </a:prstClr>
                </a:solidFill>
                <a:effectLst/>
                <a:uLnTx/>
                <a:uFillTx/>
                <a:latin typeface="+mn-lt"/>
                <a:ea typeface="+mn-ea"/>
                <a:cs typeface="+mn-cs"/>
              </a:rPr>
              <a:t>presentationgo</a:t>
            </a: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com</a:t>
            </a:r>
          </a:p>
        </p:txBody>
      </p:sp>
      <p:sp>
        <p:nvSpPr>
          <p:cNvPr id="7" name="Rectangle 6"/>
          <p:cNvSpPr/>
          <p:nvPr userDrawn="1"/>
        </p:nvSpPr>
        <p:spPr>
          <a:xfrm>
            <a:off x="-12701" y="6959601"/>
            <a:ext cx="1661032" cy="261610"/>
          </a:xfrm>
          <a:prstGeom prst="rect">
            <a:avLst/>
          </a:prstGeom>
        </p:spPr>
        <p:txBody>
          <a:bodyPr wrap="none">
            <a:spAutoFit/>
          </a:bodyPr>
          <a:lstStyle/>
          <a:p>
            <a:r>
              <a:rPr lang="en-US" sz="1100" b="0" i="0" dirty="0">
                <a:solidFill>
                  <a:srgbClr val="555555"/>
                </a:solidFill>
                <a:effectLst/>
                <a:latin typeface="Open Sans" panose="020B0606030504020204" pitchFamily="34" charset="0"/>
              </a:rPr>
              <a:t>© </a:t>
            </a:r>
            <a:r>
              <a:rPr lang="en-US" sz="1100" b="0" i="0" u="none" strike="noStrike" dirty="0">
                <a:solidFill>
                  <a:srgbClr val="A5CD28"/>
                </a:solidFill>
                <a:effectLst/>
                <a:latin typeface="Open Sans" panose="020B0606030504020204" pitchFamily="34" charset="0"/>
                <a:hlinkClick r:id="rId3" tooltip="PresentationGo!"/>
              </a:rPr>
              <a:t>presentationgo.com</a:t>
            </a:r>
            <a:endParaRPr lang="en-US" sz="1100" dirty="0"/>
          </a:p>
        </p:txBody>
      </p:sp>
      <p:sp>
        <p:nvSpPr>
          <p:cNvPr id="13" name="Freeform 12"/>
          <p:cNvSpPr/>
          <p:nvPr userDrawn="1"/>
        </p:nvSpPr>
        <p:spPr>
          <a:xfrm rot="5400000">
            <a:off x="91178" y="173588"/>
            <a:ext cx="369496" cy="570902"/>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14" name="Group 13"/>
          <p:cNvGrpSpPr/>
          <p:nvPr userDrawn="1"/>
        </p:nvGrpSpPr>
        <p:grpSpPr>
          <a:xfrm>
            <a:off x="-1654908" y="-16654"/>
            <a:ext cx="1569183" cy="612144"/>
            <a:chOff x="-2096383" y="21447"/>
            <a:chExt cx="1569183" cy="612144"/>
          </a:xfrm>
        </p:grpSpPr>
        <p:sp>
          <p:nvSpPr>
            <p:cNvPr id="15" name="TextBox 14"/>
            <p:cNvSpPr txBox="1"/>
            <p:nvPr userDrawn="1"/>
          </p:nvSpPr>
          <p:spPr>
            <a:xfrm>
              <a:off x="-2096383" y="21447"/>
              <a:ext cx="365806"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4810"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844605555"/>
      </p:ext>
    </p:extLst>
  </p:cSld>
  <p:clrMap bg1="lt1" tx1="dk1" bg2="lt2" tx2="dk2" accent1="accent1" accent2="accent2" accent3="accent3" accent4="accent4" accent5="accent5" accent6="accent6" hlink="hlink" folHlink="folHlink"/>
  <p:sldLayoutIdLst>
    <p:sldLayoutId id="2147483740" r:id="rId1"/>
  </p:sldLayoutIdLst>
  <p:txStyles>
    <p:title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5E5E76-6F03-45F8-BA21-C03A656D47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7468DA-B719-447E-B700-1D05A94C90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BEAABD-7082-4B1D-A92F-4345835788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02C998-F9CD-4035-9D87-EB5F5FE4597E}" type="datetimeFigureOut">
              <a:rPr lang="en-US" smtClean="0"/>
              <a:pPr/>
              <a:t>3/5/2024</a:t>
            </a:fld>
            <a:endParaRPr lang="en-US"/>
          </a:p>
        </p:txBody>
      </p:sp>
      <p:sp>
        <p:nvSpPr>
          <p:cNvPr id="5" name="Footer Placeholder 4">
            <a:extLst>
              <a:ext uri="{FF2B5EF4-FFF2-40B4-BE49-F238E27FC236}">
                <a16:creationId xmlns:a16="http://schemas.microsoft.com/office/drawing/2014/main" id="{5596496E-F991-4ABD-9F82-E3FDC0ECEF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6C989B-F7AC-46B2-B866-179F59FAB8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42E72F-E88F-4F56-9A98-09945F386881}" type="slidenum">
              <a:rPr lang="en-US" smtClean="0"/>
              <a:pPr/>
              <a:t>‹#›</a:t>
            </a:fld>
            <a:endParaRPr lang="en-US"/>
          </a:p>
        </p:txBody>
      </p:sp>
    </p:spTree>
    <p:extLst>
      <p:ext uri="{BB962C8B-B14F-4D97-AF65-F5344CB8AC3E}">
        <p14:creationId xmlns:p14="http://schemas.microsoft.com/office/powerpoint/2010/main" val="205423336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1.xml"/><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62.xml"/><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comments" Target="../comments/comment2.xml"/><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comments" Target="../comments/comment3.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image" Target="../media/image26.jpeg"/><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slideLayout" Target="../slideLayouts/slideLayout12.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8" Type="http://schemas.openxmlformats.org/officeDocument/2006/relationships/tags" Target="../tags/tag10.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0" Type="http://schemas.openxmlformats.org/officeDocument/2006/relationships/tags" Target="../tags/tag22.xml"/><Relationship Id="rId41" Type="http://schemas.openxmlformats.org/officeDocument/2006/relationships/tags" Target="../tags/tag43.xml"/><Relationship Id="rId1" Type="http://schemas.openxmlformats.org/officeDocument/2006/relationships/tags" Target="../tags/tag3.xml"/><Relationship Id="rId6" Type="http://schemas.openxmlformats.org/officeDocument/2006/relationships/tags" Target="../tags/tag8.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27.jpeg"/></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39.jpeg"/></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42.jpeg"/><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45.jpg"/><Relationship Id="rId5" Type="http://schemas.openxmlformats.org/officeDocument/2006/relationships/image" Target="../media/image44.jpg"/><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48.jpg"/><Relationship Id="rId4"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23.png"/><Relationship Id="rId1" Type="http://schemas.openxmlformats.org/officeDocument/2006/relationships/slideLayout" Target="../slideLayouts/slideLayout1.xml"/><Relationship Id="rId4" Type="http://schemas.openxmlformats.org/officeDocument/2006/relationships/image" Target="../media/image50.jpeg"/></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27.jpe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8.jpeg"/><Relationship Id="rId1" Type="http://schemas.openxmlformats.org/officeDocument/2006/relationships/slideLayout" Target="../slideLayouts/slideLayout11.xml"/><Relationship Id="rId5" Type="http://schemas.openxmlformats.org/officeDocument/2006/relationships/chart" Target="../charts/chart2.xml"/><Relationship Id="rId4" Type="http://schemas.openxmlformats.org/officeDocument/2006/relationships/image" Target="../media/image26.jpeg"/></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comments" Target="../comments/comment1.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chart" Target="../charts/chart3.xml"/><Relationship Id="rId1" Type="http://schemas.openxmlformats.org/officeDocument/2006/relationships/slideLayout" Target="../slideLayouts/slideLayout62.xml"/><Relationship Id="rId4" Type="http://schemas.openxmlformats.org/officeDocument/2006/relationships/image" Target="../media/image32.jpg"/></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chart" Target="../charts/chart4.xml"/><Relationship Id="rId1"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chart" Target="../charts/chart5.xml"/><Relationship Id="rId1" Type="http://schemas.openxmlformats.org/officeDocument/2006/relationships/slideLayout" Target="../slideLayouts/slideLayout62.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18">
            <a:extLst>
              <a:ext uri="{FF2B5EF4-FFF2-40B4-BE49-F238E27FC236}">
                <a16:creationId xmlns:a16="http://schemas.microsoft.com/office/drawing/2014/main" id="{2FAA70C3-2AD5-42D6-AC00-5977FEA4DA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1" name="Rectangle 20">
            <a:extLst>
              <a:ext uri="{FF2B5EF4-FFF2-40B4-BE49-F238E27FC236}">
                <a16:creationId xmlns:a16="http://schemas.microsoft.com/office/drawing/2014/main" id="{5D1D4658-32CD-4903-BDA6-7B54EEA4ED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group of stars in the sky&#10;&#10;Description automatically generated with low confidence">
            <a:extLst>
              <a:ext uri="{FF2B5EF4-FFF2-40B4-BE49-F238E27FC236}">
                <a16:creationId xmlns:a16="http://schemas.microsoft.com/office/drawing/2014/main" id="{E70DA802-D73D-4B1D-9088-C7F287EC801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00952" y="2264228"/>
            <a:ext cx="6491045" cy="4593771"/>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pic>
        <p:nvPicPr>
          <p:cNvPr id="14" name="Picture 13" descr="A picture containing tree, outdoor, mountain, person&#10;&#10;Description automatically generated">
            <a:extLst>
              <a:ext uri="{FF2B5EF4-FFF2-40B4-BE49-F238E27FC236}">
                <a16:creationId xmlns:a16="http://schemas.microsoft.com/office/drawing/2014/main" id="{CA19E306-D299-4853-8ABB-87738D40B77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266700" y="360023"/>
            <a:ext cx="5342805" cy="4453168"/>
          </a:xfrm>
          <a:custGeom>
            <a:avLst/>
            <a:gdLst/>
            <a:ahLst/>
            <a:cxnLst/>
            <a:rect l="l" t="t" r="r" b="b"/>
            <a:pathLst>
              <a:path w="5846002" h="4872577">
                <a:moveTo>
                  <a:pt x="343285" y="2953992"/>
                </a:moveTo>
                <a:cubicBezTo>
                  <a:pt x="343285" y="2953992"/>
                  <a:pt x="343285" y="2953992"/>
                  <a:pt x="849063" y="2953992"/>
                </a:cubicBezTo>
                <a:cubicBezTo>
                  <a:pt x="880743" y="2953992"/>
                  <a:pt x="911330" y="2971406"/>
                  <a:pt x="926624" y="2999703"/>
                </a:cubicBezTo>
                <a:cubicBezTo>
                  <a:pt x="926624" y="2999703"/>
                  <a:pt x="926624" y="2999703"/>
                  <a:pt x="1180059" y="3436136"/>
                </a:cubicBezTo>
                <a:cubicBezTo>
                  <a:pt x="1196445" y="3463345"/>
                  <a:pt x="1196445" y="3498172"/>
                  <a:pt x="1180059" y="3525382"/>
                </a:cubicBezTo>
                <a:cubicBezTo>
                  <a:pt x="1180059" y="3525382"/>
                  <a:pt x="1180059" y="3525382"/>
                  <a:pt x="926624" y="3961814"/>
                </a:cubicBezTo>
                <a:cubicBezTo>
                  <a:pt x="911330" y="3990111"/>
                  <a:pt x="880743" y="4007525"/>
                  <a:pt x="849063" y="4007525"/>
                </a:cubicBezTo>
                <a:cubicBezTo>
                  <a:pt x="849063" y="4007525"/>
                  <a:pt x="849063" y="4007525"/>
                  <a:pt x="343285" y="4007525"/>
                </a:cubicBezTo>
                <a:cubicBezTo>
                  <a:pt x="310513" y="4007525"/>
                  <a:pt x="281019" y="3990111"/>
                  <a:pt x="264633" y="3961814"/>
                </a:cubicBezTo>
                <a:cubicBezTo>
                  <a:pt x="264633" y="3961814"/>
                  <a:pt x="264633" y="3961814"/>
                  <a:pt x="12290" y="3525382"/>
                </a:cubicBezTo>
                <a:cubicBezTo>
                  <a:pt x="-4096" y="3498172"/>
                  <a:pt x="-4096" y="3463345"/>
                  <a:pt x="12290" y="3436136"/>
                </a:cubicBezTo>
                <a:cubicBezTo>
                  <a:pt x="12290" y="3436136"/>
                  <a:pt x="12290" y="3436136"/>
                  <a:pt x="264633" y="2999703"/>
                </a:cubicBezTo>
                <a:cubicBezTo>
                  <a:pt x="281019" y="2971406"/>
                  <a:pt x="310513" y="2953992"/>
                  <a:pt x="343285" y="2953992"/>
                </a:cubicBezTo>
                <a:close/>
                <a:moveTo>
                  <a:pt x="2353334" y="538808"/>
                </a:moveTo>
                <a:cubicBezTo>
                  <a:pt x="2353334" y="538808"/>
                  <a:pt x="2353334" y="538808"/>
                  <a:pt x="2613403" y="538808"/>
                </a:cubicBezTo>
                <a:lnTo>
                  <a:pt x="2643742" y="538808"/>
                </a:lnTo>
                <a:lnTo>
                  <a:pt x="2672692" y="588661"/>
                </a:lnTo>
                <a:cubicBezTo>
                  <a:pt x="2713002" y="658078"/>
                  <a:pt x="2759909" y="738855"/>
                  <a:pt x="2814491" y="832849"/>
                </a:cubicBezTo>
                <a:cubicBezTo>
                  <a:pt x="2839586" y="874521"/>
                  <a:pt x="2839586" y="927860"/>
                  <a:pt x="2814491" y="969531"/>
                </a:cubicBezTo>
                <a:cubicBezTo>
                  <a:pt x="2814491" y="969531"/>
                  <a:pt x="2814491" y="969531"/>
                  <a:pt x="2426350" y="1637936"/>
                </a:cubicBezTo>
                <a:cubicBezTo>
                  <a:pt x="2402927" y="1681274"/>
                  <a:pt x="2356083" y="1707943"/>
                  <a:pt x="2307565" y="1707943"/>
                </a:cubicBezTo>
                <a:cubicBezTo>
                  <a:pt x="2307565" y="1707943"/>
                  <a:pt x="2307565" y="1707943"/>
                  <a:pt x="1532956" y="1707943"/>
                </a:cubicBezTo>
                <a:cubicBezTo>
                  <a:pt x="1520409" y="1707943"/>
                  <a:pt x="1508175" y="1706276"/>
                  <a:pt x="1496490" y="1703099"/>
                </a:cubicBezTo>
                <a:lnTo>
                  <a:pt x="1471408" y="1692583"/>
                </a:lnTo>
                <a:lnTo>
                  <a:pt x="1486736" y="1666073"/>
                </a:lnTo>
                <a:cubicBezTo>
                  <a:pt x="1625328" y="1426376"/>
                  <a:pt x="1802725" y="1119564"/>
                  <a:pt x="2029793" y="726844"/>
                </a:cubicBezTo>
                <a:cubicBezTo>
                  <a:pt x="2097197" y="610441"/>
                  <a:pt x="2218525" y="538808"/>
                  <a:pt x="2353334" y="538808"/>
                </a:cubicBezTo>
                <a:close/>
                <a:moveTo>
                  <a:pt x="1487085" y="0"/>
                </a:moveTo>
                <a:cubicBezTo>
                  <a:pt x="1487085" y="0"/>
                  <a:pt x="1487085" y="0"/>
                  <a:pt x="2360840" y="0"/>
                </a:cubicBezTo>
                <a:cubicBezTo>
                  <a:pt x="2415568" y="0"/>
                  <a:pt x="2468407" y="30084"/>
                  <a:pt x="2494828" y="78969"/>
                </a:cubicBezTo>
                <a:cubicBezTo>
                  <a:pt x="2494828" y="78969"/>
                  <a:pt x="2494828" y="78969"/>
                  <a:pt x="2729665" y="483373"/>
                </a:cubicBezTo>
                <a:lnTo>
                  <a:pt x="2756194" y="529058"/>
                </a:lnTo>
                <a:lnTo>
                  <a:pt x="2735320" y="529058"/>
                </a:lnTo>
                <a:lnTo>
                  <a:pt x="2636659" y="529058"/>
                </a:lnTo>
                <a:lnTo>
                  <a:pt x="2593799" y="455250"/>
                </a:lnTo>
                <a:cubicBezTo>
                  <a:pt x="2430052" y="173267"/>
                  <a:pt x="2430052" y="173267"/>
                  <a:pt x="2430052" y="173267"/>
                </a:cubicBezTo>
                <a:cubicBezTo>
                  <a:pt x="2406629" y="129929"/>
                  <a:pt x="2359785" y="103259"/>
                  <a:pt x="2311267" y="103259"/>
                </a:cubicBezTo>
                <a:cubicBezTo>
                  <a:pt x="1536658" y="103259"/>
                  <a:pt x="1536658" y="103259"/>
                  <a:pt x="1536658" y="103259"/>
                </a:cubicBezTo>
                <a:cubicBezTo>
                  <a:pt x="1486468" y="103259"/>
                  <a:pt x="1441296" y="129929"/>
                  <a:pt x="1416201" y="173267"/>
                </a:cubicBezTo>
                <a:cubicBezTo>
                  <a:pt x="1029733" y="841671"/>
                  <a:pt x="1029733" y="841671"/>
                  <a:pt x="1029733" y="841671"/>
                </a:cubicBezTo>
                <a:cubicBezTo>
                  <a:pt x="1004637" y="883343"/>
                  <a:pt x="1004637" y="936682"/>
                  <a:pt x="1029733" y="978353"/>
                </a:cubicBezTo>
                <a:cubicBezTo>
                  <a:pt x="1416201" y="1646758"/>
                  <a:pt x="1416201" y="1646758"/>
                  <a:pt x="1416201" y="1646758"/>
                </a:cubicBezTo>
                <a:cubicBezTo>
                  <a:pt x="1428749" y="1668427"/>
                  <a:pt x="1446315" y="1685929"/>
                  <a:pt x="1467019" y="1698013"/>
                </a:cubicBezTo>
                <a:lnTo>
                  <a:pt x="1472899" y="1700478"/>
                </a:lnTo>
                <a:lnTo>
                  <a:pt x="1441377" y="1754996"/>
                </a:lnTo>
                <a:lnTo>
                  <a:pt x="1417933" y="1795543"/>
                </a:lnTo>
                <a:lnTo>
                  <a:pt x="1442249" y="1805738"/>
                </a:lnTo>
                <a:cubicBezTo>
                  <a:pt x="1455430" y="1809322"/>
                  <a:pt x="1469230" y="1811202"/>
                  <a:pt x="1483383" y="1811202"/>
                </a:cubicBezTo>
                <a:cubicBezTo>
                  <a:pt x="2357138" y="1811202"/>
                  <a:pt x="2357138" y="1811202"/>
                  <a:pt x="2357138" y="1811202"/>
                </a:cubicBezTo>
                <a:cubicBezTo>
                  <a:pt x="2411866" y="1811202"/>
                  <a:pt x="2464705" y="1781120"/>
                  <a:pt x="2491126" y="1732235"/>
                </a:cubicBezTo>
                <a:cubicBezTo>
                  <a:pt x="2928947" y="978278"/>
                  <a:pt x="2928947" y="978278"/>
                  <a:pt x="2928947" y="978278"/>
                </a:cubicBezTo>
                <a:cubicBezTo>
                  <a:pt x="2957254" y="931274"/>
                  <a:pt x="2957254" y="871108"/>
                  <a:pt x="2928947" y="824102"/>
                </a:cubicBezTo>
                <a:cubicBezTo>
                  <a:pt x="2874220" y="729858"/>
                  <a:pt x="2826333" y="647394"/>
                  <a:pt x="2784432" y="575238"/>
                </a:cubicBezTo>
                <a:lnTo>
                  <a:pt x="2763277" y="538808"/>
                </a:lnTo>
                <a:lnTo>
                  <a:pt x="2861280" y="538808"/>
                </a:lnTo>
                <a:cubicBezTo>
                  <a:pt x="3166048" y="538808"/>
                  <a:pt x="3653676" y="538808"/>
                  <a:pt x="4433881" y="538808"/>
                </a:cubicBezTo>
                <a:cubicBezTo>
                  <a:pt x="4564197" y="538808"/>
                  <a:pt x="4690018" y="610441"/>
                  <a:pt x="4752929" y="726844"/>
                </a:cubicBezTo>
                <a:cubicBezTo>
                  <a:pt x="4752929" y="726844"/>
                  <a:pt x="4752929" y="726844"/>
                  <a:pt x="5795449" y="2522134"/>
                </a:cubicBezTo>
                <a:cubicBezTo>
                  <a:pt x="5862854" y="2634060"/>
                  <a:pt x="5862854" y="2777325"/>
                  <a:pt x="5795449" y="2889251"/>
                </a:cubicBezTo>
                <a:cubicBezTo>
                  <a:pt x="5795449" y="2889251"/>
                  <a:pt x="5795449" y="2889251"/>
                  <a:pt x="4752929" y="4684542"/>
                </a:cubicBezTo>
                <a:cubicBezTo>
                  <a:pt x="4690018" y="4800945"/>
                  <a:pt x="4564197" y="4872577"/>
                  <a:pt x="4433881" y="4872577"/>
                </a:cubicBezTo>
                <a:cubicBezTo>
                  <a:pt x="4433881" y="4872577"/>
                  <a:pt x="4433881" y="4872577"/>
                  <a:pt x="2353334" y="4872577"/>
                </a:cubicBezTo>
                <a:cubicBezTo>
                  <a:pt x="2218525" y="4872577"/>
                  <a:pt x="2097197" y="4800945"/>
                  <a:pt x="2029793" y="4684542"/>
                </a:cubicBezTo>
                <a:cubicBezTo>
                  <a:pt x="2029793" y="4684542"/>
                  <a:pt x="2029793" y="4684542"/>
                  <a:pt x="991766" y="2889251"/>
                </a:cubicBezTo>
                <a:cubicBezTo>
                  <a:pt x="924361" y="2777325"/>
                  <a:pt x="924361" y="2634060"/>
                  <a:pt x="991766" y="2522134"/>
                </a:cubicBezTo>
                <a:cubicBezTo>
                  <a:pt x="991766" y="2522134"/>
                  <a:pt x="991766" y="2522134"/>
                  <a:pt x="1377193" y="1855530"/>
                </a:cubicBezTo>
                <a:lnTo>
                  <a:pt x="1409676" y="1799352"/>
                </a:lnTo>
                <a:lnTo>
                  <a:pt x="1408533" y="1798873"/>
                </a:lnTo>
                <a:cubicBezTo>
                  <a:pt x="1385179" y="1785241"/>
                  <a:pt x="1365364" y="1765500"/>
                  <a:pt x="1351210" y="1741057"/>
                </a:cubicBezTo>
                <a:cubicBezTo>
                  <a:pt x="1351210" y="1741057"/>
                  <a:pt x="1351210" y="1741057"/>
                  <a:pt x="915276" y="987100"/>
                </a:cubicBezTo>
                <a:cubicBezTo>
                  <a:pt x="886968" y="940096"/>
                  <a:pt x="886968" y="879930"/>
                  <a:pt x="915276" y="832924"/>
                </a:cubicBezTo>
                <a:cubicBezTo>
                  <a:pt x="915276" y="832924"/>
                  <a:pt x="915276" y="832924"/>
                  <a:pt x="1351210" y="78969"/>
                </a:cubicBezTo>
                <a:cubicBezTo>
                  <a:pt x="1379517" y="30084"/>
                  <a:pt x="1430471" y="0"/>
                  <a:pt x="1487085" y="0"/>
                </a:cubicBezTo>
                <a:close/>
              </a:path>
            </a:pathLst>
          </a:custGeom>
        </p:spPr>
      </p:pic>
      <p:pic>
        <p:nvPicPr>
          <p:cNvPr id="28" name="Picture 2" descr="D:\backup07102013\o dia D\O D xin\logo EVN.jpg">
            <a:extLst>
              <a:ext uri="{FF2B5EF4-FFF2-40B4-BE49-F238E27FC236}">
                <a16:creationId xmlns:a16="http://schemas.microsoft.com/office/drawing/2014/main" id="{9AE13B6F-B87A-4EE7-907A-3D21ACE272E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b="-6"/>
          <a:stretch>
            <a:fillRect/>
          </a:stretch>
        </p:blipFill>
        <p:spPr bwMode="auto">
          <a:xfrm>
            <a:off x="6725677" y="601748"/>
            <a:ext cx="3140221" cy="322560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Subtitle 2">
            <a:extLst>
              <a:ext uri="{FF2B5EF4-FFF2-40B4-BE49-F238E27FC236}">
                <a16:creationId xmlns:a16="http://schemas.microsoft.com/office/drawing/2014/main" id="{828897BC-F633-40A4-8520-30D6BF60A34B}"/>
              </a:ext>
            </a:extLst>
          </p:cNvPr>
          <p:cNvSpPr txBox="1">
            <a:spLocks/>
          </p:cNvSpPr>
          <p:nvPr/>
        </p:nvSpPr>
        <p:spPr>
          <a:xfrm>
            <a:off x="-6" y="6397464"/>
            <a:ext cx="10959915" cy="46053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None/>
              <a:defRPr sz="2400" kern="1200" cap="all" spc="200" baseline="0">
                <a:solidFill>
                  <a:schemeClr val="tx1"/>
                </a:solidFill>
                <a:latin typeface="+mn-lt"/>
                <a:ea typeface="+mn-ea"/>
                <a:cs typeface="+mn-cs"/>
              </a:defRPr>
            </a:lvl1pPr>
            <a:lvl2pPr marL="457200" indent="0" algn="ctr" defTabSz="914400" rtl="0" eaLnBrk="1" latinLnBrk="0" hangingPunct="1">
              <a:lnSpc>
                <a:spcPct val="100000"/>
              </a:lnSpc>
              <a:spcBef>
                <a:spcPts val="200"/>
              </a:spcBef>
              <a:spcAft>
                <a:spcPts val="400"/>
              </a:spcAft>
              <a:buClrTx/>
              <a:buFont typeface="Calibri" pitchFamily="34" charset="0"/>
              <a:buNone/>
              <a:defRPr sz="2400" kern="1200">
                <a:solidFill>
                  <a:schemeClr val="tx1">
                    <a:lumMod val="75000"/>
                    <a:lumOff val="25000"/>
                  </a:schemeClr>
                </a:solidFill>
                <a:latin typeface="+mn-lt"/>
                <a:ea typeface="+mn-ea"/>
                <a:cs typeface="+mn-cs"/>
              </a:defRPr>
            </a:lvl2pPr>
            <a:lvl3pPr marL="914400" indent="0" algn="ctr" defTabSz="914400" rtl="0" eaLnBrk="1" latinLnBrk="0" hangingPunct="1">
              <a:lnSpc>
                <a:spcPct val="100000"/>
              </a:lnSpc>
              <a:spcBef>
                <a:spcPts val="200"/>
              </a:spcBef>
              <a:spcAft>
                <a:spcPts val="400"/>
              </a:spcAft>
              <a:buClrTx/>
              <a:buFont typeface="Calibri" pitchFamily="34" charset="0"/>
              <a:buNone/>
              <a:defRPr sz="2400" kern="1200">
                <a:solidFill>
                  <a:schemeClr val="tx1">
                    <a:lumMod val="75000"/>
                    <a:lumOff val="25000"/>
                  </a:schemeClr>
                </a:solidFill>
                <a:latin typeface="+mn-lt"/>
                <a:ea typeface="+mn-ea"/>
                <a:cs typeface="+mn-cs"/>
              </a:defRPr>
            </a:lvl3pPr>
            <a:lvl4pPr marL="1371600" indent="0" algn="ctr" defTabSz="914400" rtl="0" eaLnBrk="1" latinLnBrk="0" hangingPunct="1">
              <a:lnSpc>
                <a:spcPct val="100000"/>
              </a:lnSpc>
              <a:spcBef>
                <a:spcPts val="200"/>
              </a:spcBef>
              <a:spcAft>
                <a:spcPts val="400"/>
              </a:spcAft>
              <a:buClrTx/>
              <a:buFont typeface="Calibri" pitchFamily="34" charset="0"/>
              <a:buNone/>
              <a:defRPr sz="2000" kern="1200">
                <a:solidFill>
                  <a:schemeClr val="tx1">
                    <a:lumMod val="75000"/>
                    <a:lumOff val="25000"/>
                  </a:schemeClr>
                </a:solidFill>
                <a:latin typeface="+mn-lt"/>
                <a:ea typeface="+mn-ea"/>
                <a:cs typeface="+mn-cs"/>
              </a:defRPr>
            </a:lvl4pPr>
            <a:lvl5pPr marL="1828800" indent="0" algn="ctr" defTabSz="914400" rtl="0" eaLnBrk="1" latinLnBrk="0" hangingPunct="1">
              <a:lnSpc>
                <a:spcPct val="100000"/>
              </a:lnSpc>
              <a:spcBef>
                <a:spcPts val="200"/>
              </a:spcBef>
              <a:spcAft>
                <a:spcPts val="400"/>
              </a:spcAft>
              <a:buClrTx/>
              <a:buFont typeface="Calibri" pitchFamily="34" charset="0"/>
              <a:buNone/>
              <a:defRPr sz="2000" kern="1200">
                <a:solidFill>
                  <a:schemeClr val="tx1">
                    <a:lumMod val="75000"/>
                    <a:lumOff val="25000"/>
                  </a:schemeClr>
                </a:solidFill>
                <a:latin typeface="+mn-lt"/>
                <a:ea typeface="+mn-ea"/>
                <a:cs typeface="+mn-cs"/>
              </a:defRPr>
            </a:lvl5pPr>
            <a:lvl6pPr marL="22860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6pPr>
            <a:lvl7pPr marL="27432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7pPr>
            <a:lvl8pPr marL="32004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8pPr>
            <a:lvl9pPr marL="3657600" indent="0" algn="ctr" defTabSz="914400" rtl="0" eaLnBrk="1" latinLnBrk="0" hangingPunct="1">
              <a:lnSpc>
                <a:spcPct val="90000"/>
              </a:lnSpc>
              <a:spcBef>
                <a:spcPts val="200"/>
              </a:spcBef>
              <a:spcAft>
                <a:spcPts val="400"/>
              </a:spcAft>
              <a:buClr>
                <a:schemeClr val="accent1"/>
              </a:buClr>
              <a:buFont typeface="Calibri" pitchFamily="34" charset="0"/>
              <a:buNone/>
              <a:defRPr sz="2000" kern="1200">
                <a:solidFill>
                  <a:schemeClr val="tx1">
                    <a:lumMod val="75000"/>
                    <a:lumOff val="25000"/>
                  </a:schemeClr>
                </a:solidFill>
                <a:latin typeface="+mn-lt"/>
                <a:ea typeface="+mn-ea"/>
                <a:cs typeface="+mn-cs"/>
              </a:defRPr>
            </a:lvl9pPr>
          </a:lstStyle>
          <a:p>
            <a:pPr marL="0" marR="0" lvl="0" indent="0" algn="l" defTabSz="914400" rtl="0" eaLnBrk="1" fontAlgn="auto" latinLnBrk="0" hangingPunct="1">
              <a:lnSpc>
                <a:spcPct val="110000"/>
              </a:lnSpc>
              <a:spcBef>
                <a:spcPts val="1200"/>
              </a:spcBef>
              <a:spcAft>
                <a:spcPts val="200"/>
              </a:spcAft>
              <a:buClr>
                <a:srgbClr val="F6A21D"/>
              </a:buClr>
              <a:buSzPct val="100000"/>
              <a:buFont typeface="Calibri" panose="020F0502020204030204" pitchFamily="34" charset="0"/>
              <a:buNone/>
              <a:tabLst/>
              <a:defRPr/>
            </a:pPr>
            <a:endParaRPr kumimoji="0" lang="en-US" sz="2500" b="1" i="0" u="none" strike="noStrike" kern="1200" cap="all" spc="-50" normalizeH="0" baseline="0" noProof="0" dirty="0">
              <a:ln>
                <a:noFill/>
              </a:ln>
              <a:solidFill>
                <a:srgbClr val="70AD47"/>
              </a:solidFill>
              <a:effectLst/>
              <a:uLnTx/>
              <a:uFillTx/>
              <a:latin typeface="Times New Roman" panose="02020603050405020304" pitchFamily="18" charset="0"/>
              <a:ea typeface="+mn-ea"/>
              <a:cs typeface="Times New Roman" panose="02020603050405020304" pitchFamily="18" charset="0"/>
            </a:endParaRPr>
          </a:p>
        </p:txBody>
      </p:sp>
      <p:sp>
        <p:nvSpPr>
          <p:cNvPr id="32" name="Title 1">
            <a:extLst>
              <a:ext uri="{FF2B5EF4-FFF2-40B4-BE49-F238E27FC236}">
                <a16:creationId xmlns:a16="http://schemas.microsoft.com/office/drawing/2014/main" id="{8D261B00-D252-4080-9046-CCD090986CF9}"/>
              </a:ext>
            </a:extLst>
          </p:cNvPr>
          <p:cNvSpPr txBox="1">
            <a:spLocks/>
          </p:cNvSpPr>
          <p:nvPr/>
        </p:nvSpPr>
        <p:spPr>
          <a:xfrm>
            <a:off x="-1707599" y="4791832"/>
            <a:ext cx="10075819" cy="108857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R="0" lvl="0" indent="0" algn="ctr" defTabSz="914377" fontAlgn="auto">
              <a:lnSpc>
                <a:spcPct val="150000"/>
              </a:lnSpc>
              <a:spcBef>
                <a:spcPts val="0"/>
              </a:spcBef>
              <a:spcAft>
                <a:spcPts val="0"/>
              </a:spcAft>
              <a:buClrTx/>
              <a:buSzTx/>
              <a:buFontTx/>
              <a:buNone/>
              <a:tabLst/>
              <a:defRPr>
                <a:uFillTx/>
              </a:defRPr>
            </a:pPr>
            <a:r>
              <a:rPr lang="en-US" sz="2600" b="1" dirty="0">
                <a:solidFill>
                  <a:srgbClr val="164397"/>
                </a:solidFill>
                <a:latin typeface="HelveticaBlackVU" panose="00000900000000000000" pitchFamily="2" charset="0"/>
                <a:ea typeface="+mn-ea"/>
                <a:cs typeface="+mn-cs"/>
              </a:rPr>
              <a:t>TẦM NHÌN VỀ BÌNH ĐẲNG GIỚI </a:t>
            </a:r>
          </a:p>
        </p:txBody>
      </p:sp>
    </p:spTree>
    <p:extLst>
      <p:ext uri="{BB962C8B-B14F-4D97-AF65-F5344CB8AC3E}">
        <p14:creationId xmlns:p14="http://schemas.microsoft.com/office/powerpoint/2010/main" val="2484171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769;g150989c8c2b_0_66">
            <a:extLst>
              <a:ext uri="{FF2B5EF4-FFF2-40B4-BE49-F238E27FC236}">
                <a16:creationId xmlns:a16="http://schemas.microsoft.com/office/drawing/2014/main" id="{0016E329-04C1-F285-CB3C-FE09AC273332}"/>
              </a:ext>
            </a:extLst>
          </p:cNvPr>
          <p:cNvSpPr/>
          <p:nvPr/>
        </p:nvSpPr>
        <p:spPr>
          <a:xfrm>
            <a:off x="-30550" y="1771100"/>
            <a:ext cx="12222600" cy="36810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Google Shape;770;g150989c8c2b_0_66">
            <a:extLst>
              <a:ext uri="{FF2B5EF4-FFF2-40B4-BE49-F238E27FC236}">
                <a16:creationId xmlns:a16="http://schemas.microsoft.com/office/drawing/2014/main" id="{8D29C4B2-7A3B-D51D-8E56-7F9477477D74}"/>
              </a:ext>
            </a:extLst>
          </p:cNvPr>
          <p:cNvSpPr txBox="1">
            <a:spLocks/>
          </p:cNvSpPr>
          <p:nvPr/>
        </p:nvSpPr>
        <p:spPr>
          <a:xfrm>
            <a:off x="196113" y="392625"/>
            <a:ext cx="11696100" cy="9618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lang="en-US" sz="3000" b="1" dirty="0">
                <a:solidFill>
                  <a:srgbClr val="164397"/>
                </a:solidFill>
                <a:latin typeface="Times New Roman" panose="02020603050405020304" pitchFamily="18" charset="0"/>
                <a:ea typeface="+mn-ea"/>
                <a:cs typeface="Times New Roman" panose="02020603050405020304" pitchFamily="18" charset="0"/>
              </a:rPr>
              <a:t>KẾ HOẠCH BÌNH ĐẲNG GIỚI EVN 2021-2025: </a:t>
            </a:r>
          </a:p>
          <a:p>
            <a:pPr marL="0" marR="0" lvl="0" indent="0" algn="ctr" defTabSz="914400" rtl="0" eaLnBrk="1" fontAlgn="auto" latinLnBrk="0" hangingPunct="1">
              <a:lnSpc>
                <a:spcPct val="100000"/>
              </a:lnSpc>
              <a:spcBef>
                <a:spcPts val="0"/>
              </a:spcBef>
              <a:spcAft>
                <a:spcPts val="0"/>
              </a:spcAft>
              <a:buClr>
                <a:srgbClr val="000000"/>
              </a:buClr>
              <a:buSzPts val="2400"/>
              <a:buFont typeface="Arial"/>
              <a:buNone/>
              <a:tabLst/>
              <a:defRPr/>
            </a:pPr>
            <a:r>
              <a:rPr lang="en-US" sz="3000" b="1" dirty="0">
                <a:solidFill>
                  <a:srgbClr val="164397"/>
                </a:solidFill>
                <a:latin typeface="Times New Roman" panose="02020603050405020304" pitchFamily="18" charset="0"/>
                <a:ea typeface="+mn-ea"/>
                <a:cs typeface="Times New Roman" panose="02020603050405020304" pitchFamily="18" charset="0"/>
              </a:rPr>
              <a:t>MỤC  TIÊU TỔNG THỂ </a:t>
            </a:r>
            <a:endParaRPr lang="en-US" sz="3000" b="1" dirty="0">
              <a:solidFill>
                <a:srgbClr val="164397"/>
              </a:solidFill>
              <a:latin typeface="Times New Roman" panose="02020603050405020304" pitchFamily="18" charset="0"/>
              <a:ea typeface="+mn-ea"/>
              <a:cs typeface="Times New Roman" panose="02020603050405020304" pitchFamily="18" charset="0"/>
              <a:sym typeface="Arial"/>
            </a:endParaRPr>
          </a:p>
        </p:txBody>
      </p:sp>
      <p:sp>
        <p:nvSpPr>
          <p:cNvPr id="4" name="Google Shape;771;g150989c8c2b_0_66">
            <a:extLst>
              <a:ext uri="{FF2B5EF4-FFF2-40B4-BE49-F238E27FC236}">
                <a16:creationId xmlns:a16="http://schemas.microsoft.com/office/drawing/2014/main" id="{4830B981-418E-E70D-C940-4AA90ECD1B29}"/>
              </a:ext>
            </a:extLst>
          </p:cNvPr>
          <p:cNvSpPr txBox="1"/>
          <p:nvPr/>
        </p:nvSpPr>
        <p:spPr>
          <a:xfrm>
            <a:off x="543740" y="4527525"/>
            <a:ext cx="3178800" cy="101563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Calibri"/>
                <a:ea typeface="+mn-ea"/>
                <a:cs typeface="+mn-cs"/>
              </a:rPr>
              <a:t>Giảm</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khoả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ách</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giới</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tă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tỷ</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ệ</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a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lang="en-US" dirty="0" err="1">
                <a:solidFill>
                  <a:prstClr val="white"/>
                </a:solidFill>
                <a:latin typeface="Calibri"/>
              </a:rPr>
              <a:t>động</a:t>
            </a:r>
            <a:r>
              <a:rPr lang="en-US" dirty="0">
                <a:solidFill>
                  <a:prstClr val="white"/>
                </a:solidFill>
                <a:latin typeface="Calibri"/>
              </a:rPr>
              <a:t> </a:t>
            </a:r>
            <a:r>
              <a:rPr lang="en-US" dirty="0" err="1">
                <a:solidFill>
                  <a:prstClr val="white"/>
                </a:solidFill>
                <a:latin typeface="Calibri"/>
              </a:rPr>
              <a:t>nữ</a:t>
            </a:r>
            <a:r>
              <a:rPr lang="en-US" dirty="0">
                <a:solidFill>
                  <a:prstClr val="white"/>
                </a:solidFill>
                <a:latin typeface="Calibri"/>
              </a:rPr>
              <a:t> </a:t>
            </a:r>
            <a:r>
              <a:rPr lang="en-US" dirty="0" err="1">
                <a:solidFill>
                  <a:prstClr val="white"/>
                </a:solidFill>
                <a:latin typeface="Calibri"/>
              </a:rPr>
              <a:t>đặc</a:t>
            </a:r>
            <a:r>
              <a:rPr lang="en-US" dirty="0">
                <a:solidFill>
                  <a:prstClr val="white"/>
                </a:solidFill>
                <a:latin typeface="Calibri"/>
              </a:rPr>
              <a:t> </a:t>
            </a:r>
            <a:r>
              <a:rPr lang="en-US" dirty="0" err="1">
                <a:solidFill>
                  <a:prstClr val="white"/>
                </a:solidFill>
                <a:latin typeface="Calibri"/>
              </a:rPr>
              <a:t>biệt</a:t>
            </a:r>
            <a:r>
              <a:rPr lang="en-US" dirty="0">
                <a:solidFill>
                  <a:prstClr val="white"/>
                </a:solidFill>
                <a:latin typeface="Calibri"/>
              </a:rPr>
              <a:t> </a:t>
            </a:r>
            <a:r>
              <a:rPr lang="en-US" dirty="0" err="1">
                <a:solidFill>
                  <a:prstClr val="white"/>
                </a:solidFill>
                <a:latin typeface="Calibri"/>
              </a:rPr>
              <a:t>trong</a:t>
            </a:r>
            <a:r>
              <a:rPr lang="en-US" dirty="0">
                <a:solidFill>
                  <a:prstClr val="white"/>
                </a:solidFill>
                <a:latin typeface="Calibri"/>
              </a:rPr>
              <a:t> </a:t>
            </a:r>
            <a:r>
              <a:rPr lang="en-US" dirty="0" err="1">
                <a:solidFill>
                  <a:prstClr val="white"/>
                </a:solidFill>
                <a:latin typeface="Calibri"/>
              </a:rPr>
              <a:t>lĩnh</a:t>
            </a:r>
            <a:r>
              <a:rPr lang="en-US" dirty="0">
                <a:solidFill>
                  <a:prstClr val="white"/>
                </a:solidFill>
                <a:latin typeface="Calibri"/>
              </a:rPr>
              <a:t> </a:t>
            </a:r>
            <a:r>
              <a:rPr lang="en-US" dirty="0" err="1">
                <a:solidFill>
                  <a:prstClr val="white"/>
                </a:solidFill>
                <a:latin typeface="Calibri"/>
              </a:rPr>
              <a:t>vực</a:t>
            </a:r>
            <a:r>
              <a:rPr lang="en-US" dirty="0">
                <a:solidFill>
                  <a:prstClr val="white"/>
                </a:solidFill>
                <a:latin typeface="Calibri"/>
              </a:rPr>
              <a:t> </a:t>
            </a:r>
            <a:r>
              <a:rPr lang="en-US" dirty="0" err="1">
                <a:solidFill>
                  <a:prstClr val="white"/>
                </a:solidFill>
                <a:latin typeface="Calibri"/>
              </a:rPr>
              <a:t>quản</a:t>
            </a:r>
            <a:r>
              <a:rPr lang="en-US" dirty="0">
                <a:solidFill>
                  <a:prstClr val="white"/>
                </a:solidFill>
                <a:latin typeface="Calibri"/>
              </a:rPr>
              <a:t> </a:t>
            </a:r>
            <a:r>
              <a:rPr lang="en-US" dirty="0" err="1">
                <a:solidFill>
                  <a:prstClr val="white"/>
                </a:solidFill>
                <a:latin typeface="Calibri"/>
              </a:rPr>
              <a:t>lý</a:t>
            </a:r>
            <a:r>
              <a:rPr lang="en-US" dirty="0">
                <a:solidFill>
                  <a:prstClr val="white"/>
                </a:solidFill>
                <a:latin typeface="Calibri"/>
              </a:rPr>
              <a:t> </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endParaRPr kumimoji="0"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Google Shape;772;g150989c8c2b_0_66">
            <a:extLst>
              <a:ext uri="{FF2B5EF4-FFF2-40B4-BE49-F238E27FC236}">
                <a16:creationId xmlns:a16="http://schemas.microsoft.com/office/drawing/2014/main" id="{F87A6FAD-A156-6C98-FB8E-4A29D30F0D4A}"/>
              </a:ext>
            </a:extLst>
          </p:cNvPr>
          <p:cNvSpPr txBox="1"/>
          <p:nvPr/>
        </p:nvSpPr>
        <p:spPr>
          <a:xfrm>
            <a:off x="4397312" y="4527525"/>
            <a:ext cx="3494107" cy="1015632"/>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Calibri"/>
                <a:ea typeface="+mn-ea"/>
                <a:cs typeface="+mn-cs"/>
              </a:rPr>
              <a:t>Nâ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a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nă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ực</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ủa</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đội</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ngũ</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a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lang="en-US" dirty="0" err="1">
                <a:solidFill>
                  <a:prstClr val="white"/>
                </a:solidFill>
                <a:latin typeface="Calibri"/>
              </a:rPr>
              <a:t>động</a:t>
            </a:r>
            <a:r>
              <a:rPr lang="en-US" dirty="0">
                <a:solidFill>
                  <a:prstClr val="white"/>
                </a:solidFill>
                <a:latin typeface="Calibri"/>
              </a:rPr>
              <a:t> </a:t>
            </a:r>
            <a:r>
              <a:rPr lang="en-US" dirty="0" err="1">
                <a:solidFill>
                  <a:prstClr val="white"/>
                </a:solidFill>
                <a:latin typeface="Calibri"/>
              </a:rPr>
              <a:t>để</a:t>
            </a:r>
            <a:r>
              <a:rPr lang="en-US" dirty="0">
                <a:solidFill>
                  <a:prstClr val="white"/>
                </a:solidFill>
                <a:latin typeface="Calibri"/>
              </a:rPr>
              <a:t> </a:t>
            </a:r>
            <a:r>
              <a:rPr lang="en-US" dirty="0" err="1">
                <a:solidFill>
                  <a:prstClr val="white"/>
                </a:solidFill>
                <a:latin typeface="Calibri"/>
              </a:rPr>
              <a:t>đáp</a:t>
            </a:r>
            <a:r>
              <a:rPr lang="en-US" dirty="0">
                <a:solidFill>
                  <a:prstClr val="white"/>
                </a:solidFill>
                <a:latin typeface="Calibri"/>
              </a:rPr>
              <a:t> </a:t>
            </a:r>
            <a:r>
              <a:rPr lang="en-US" dirty="0" err="1">
                <a:solidFill>
                  <a:prstClr val="white"/>
                </a:solidFill>
                <a:latin typeface="Calibri"/>
              </a:rPr>
              <a:t>ứng</a:t>
            </a:r>
            <a:r>
              <a:rPr lang="en-US" dirty="0">
                <a:solidFill>
                  <a:prstClr val="white"/>
                </a:solidFill>
                <a:latin typeface="Calibri"/>
              </a:rPr>
              <a:t> </a:t>
            </a:r>
            <a:r>
              <a:rPr lang="en-US" dirty="0" err="1">
                <a:solidFill>
                  <a:prstClr val="white"/>
                </a:solidFill>
                <a:latin typeface="Calibri"/>
              </a:rPr>
              <a:t>thách</a:t>
            </a:r>
            <a:r>
              <a:rPr lang="en-US" dirty="0">
                <a:solidFill>
                  <a:prstClr val="white"/>
                </a:solidFill>
                <a:latin typeface="Calibri"/>
              </a:rPr>
              <a:t> </a:t>
            </a:r>
            <a:r>
              <a:rPr lang="en-US" dirty="0" err="1">
                <a:solidFill>
                  <a:prstClr val="white"/>
                </a:solidFill>
                <a:latin typeface="Calibri"/>
              </a:rPr>
              <a:t>thức</a:t>
            </a:r>
            <a:r>
              <a:rPr lang="en-US" dirty="0">
                <a:solidFill>
                  <a:prstClr val="white"/>
                </a:solidFill>
                <a:latin typeface="Calibri"/>
              </a:rPr>
              <a:t> </a:t>
            </a:r>
            <a:r>
              <a:rPr lang="en-US" dirty="0" err="1">
                <a:solidFill>
                  <a:prstClr val="white"/>
                </a:solidFill>
                <a:latin typeface="Calibri"/>
              </a:rPr>
              <a:t>cuộc</a:t>
            </a:r>
            <a:r>
              <a:rPr lang="en-US" dirty="0">
                <a:solidFill>
                  <a:prstClr val="white"/>
                </a:solidFill>
                <a:latin typeface="Calibri"/>
              </a:rPr>
              <a:t> </a:t>
            </a:r>
            <a:r>
              <a:rPr lang="en-US" dirty="0" err="1">
                <a:solidFill>
                  <a:prstClr val="white"/>
                </a:solidFill>
                <a:latin typeface="Calibri"/>
              </a:rPr>
              <a:t>cach</a:t>
            </a:r>
            <a:r>
              <a:rPr lang="en-US" dirty="0">
                <a:solidFill>
                  <a:prstClr val="white"/>
                </a:solidFill>
                <a:latin typeface="Calibri"/>
              </a:rPr>
              <a:t> </a:t>
            </a:r>
            <a:r>
              <a:rPr lang="en-US" dirty="0" err="1">
                <a:solidFill>
                  <a:prstClr val="white"/>
                </a:solidFill>
                <a:latin typeface="Calibri"/>
              </a:rPr>
              <a:t>mạng</a:t>
            </a:r>
            <a:r>
              <a:rPr lang="en-US" dirty="0">
                <a:solidFill>
                  <a:prstClr val="white"/>
                </a:solidFill>
                <a:latin typeface="Calibri"/>
              </a:rPr>
              <a:t> </a:t>
            </a:r>
            <a:r>
              <a:rPr lang="en-US" dirty="0" err="1">
                <a:solidFill>
                  <a:prstClr val="white"/>
                </a:solidFill>
                <a:latin typeface="Calibri"/>
              </a:rPr>
              <a:t>chuyển</a:t>
            </a:r>
            <a:r>
              <a:rPr lang="en-US" dirty="0">
                <a:solidFill>
                  <a:prstClr val="white"/>
                </a:solidFill>
                <a:latin typeface="Calibri"/>
              </a:rPr>
              <a:t> </a:t>
            </a:r>
            <a:r>
              <a:rPr lang="en-US" dirty="0" err="1">
                <a:solidFill>
                  <a:prstClr val="white"/>
                </a:solidFill>
                <a:latin typeface="Calibri"/>
              </a:rPr>
              <a:t>đổi</a:t>
            </a:r>
            <a:r>
              <a:rPr lang="en-US" dirty="0">
                <a:solidFill>
                  <a:prstClr val="white"/>
                </a:solidFill>
                <a:latin typeface="Calibri"/>
              </a:rPr>
              <a:t> </a:t>
            </a:r>
            <a:r>
              <a:rPr lang="en-US" dirty="0" err="1">
                <a:solidFill>
                  <a:prstClr val="white"/>
                </a:solidFill>
                <a:latin typeface="Calibri"/>
              </a:rPr>
              <a:t>số</a:t>
            </a:r>
            <a:r>
              <a:rPr lang="en-US" dirty="0">
                <a:solidFill>
                  <a:prstClr val="white"/>
                </a:solidFill>
                <a:latin typeface="Calibri"/>
              </a:rPr>
              <a:t> 4.0</a:t>
            </a:r>
            <a:endParaRPr kumimoji="0"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Google Shape;773;g150989c8c2b_0_66">
            <a:extLst>
              <a:ext uri="{FF2B5EF4-FFF2-40B4-BE49-F238E27FC236}">
                <a16:creationId xmlns:a16="http://schemas.microsoft.com/office/drawing/2014/main" id="{E7285EB6-0367-4405-6E06-D5AC1709DD8E}"/>
              </a:ext>
            </a:extLst>
          </p:cNvPr>
          <p:cNvSpPr txBox="1"/>
          <p:nvPr/>
        </p:nvSpPr>
        <p:spPr>
          <a:xfrm>
            <a:off x="8208538" y="4635225"/>
            <a:ext cx="3701400" cy="738633"/>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Calibri"/>
                <a:ea typeface="+mn-ea"/>
                <a:cs typeface="+mn-cs"/>
              </a:rPr>
              <a:t>Nâ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a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hấ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ượ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uộc</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số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ch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toàn</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thể</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đổi</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ngũ</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lao</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động</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endParaRPr kumimoji="0"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Google Shape;774;g150989c8c2b_0_66">
            <a:extLst>
              <a:ext uri="{FF2B5EF4-FFF2-40B4-BE49-F238E27FC236}">
                <a16:creationId xmlns:a16="http://schemas.microsoft.com/office/drawing/2014/main" id="{36C872B1-D039-92BF-C018-E9D92AA91956}"/>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4297122" y="2080486"/>
            <a:ext cx="3494108" cy="2263388"/>
          </a:xfrm>
          <a:prstGeom prst="rect">
            <a:avLst/>
          </a:prstGeom>
          <a:noFill/>
          <a:ln>
            <a:noFill/>
          </a:ln>
          <a:effectLst>
            <a:outerShdw blurRad="242888" dist="57150" dir="2820000" algn="bl" rotWithShape="0">
              <a:srgbClr val="000000">
                <a:alpha val="62000"/>
              </a:srgbClr>
            </a:outerShdw>
          </a:effectLst>
        </p:spPr>
      </p:pic>
      <p:pic>
        <p:nvPicPr>
          <p:cNvPr id="8" name="Google Shape;775;g150989c8c2b_0_66">
            <a:extLst>
              <a:ext uri="{FF2B5EF4-FFF2-40B4-BE49-F238E27FC236}">
                <a16:creationId xmlns:a16="http://schemas.microsoft.com/office/drawing/2014/main" id="{D733F59E-8DE0-2A57-3F01-CCB6D22A6DFA}"/>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8312204" y="2081898"/>
            <a:ext cx="3494108" cy="2260592"/>
          </a:xfrm>
          <a:prstGeom prst="rect">
            <a:avLst/>
          </a:prstGeom>
          <a:noFill/>
          <a:ln>
            <a:noFill/>
          </a:ln>
          <a:effectLst>
            <a:outerShdw blurRad="242888" dist="57150" dir="2820000" algn="bl" rotWithShape="0">
              <a:srgbClr val="000000">
                <a:alpha val="62000"/>
              </a:srgbClr>
            </a:outerShdw>
          </a:effectLst>
        </p:spPr>
      </p:pic>
      <p:pic>
        <p:nvPicPr>
          <p:cNvPr id="9" name="Google Shape;776;g150989c8c2b_0_66">
            <a:extLst>
              <a:ext uri="{FF2B5EF4-FFF2-40B4-BE49-F238E27FC236}">
                <a16:creationId xmlns:a16="http://schemas.microsoft.com/office/drawing/2014/main" id="{3CD15DB9-36B9-0591-95EF-79A0EEAF9410}"/>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282039" y="2081884"/>
            <a:ext cx="3494108" cy="2260592"/>
          </a:xfrm>
          <a:prstGeom prst="rect">
            <a:avLst/>
          </a:prstGeom>
          <a:noFill/>
          <a:ln>
            <a:noFill/>
          </a:ln>
          <a:effectLst>
            <a:outerShdw blurRad="242888" dist="57150" dir="2820000" algn="bl" rotWithShape="0">
              <a:srgbClr val="000000">
                <a:alpha val="62000"/>
              </a:srgbClr>
            </a:outerShdw>
          </a:effectLst>
        </p:spPr>
      </p:pic>
    </p:spTree>
    <p:extLst>
      <p:ext uri="{BB962C8B-B14F-4D97-AF65-F5344CB8AC3E}">
        <p14:creationId xmlns:p14="http://schemas.microsoft.com/office/powerpoint/2010/main" val="2354325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819DF9E-E4A8-4B97-90AF-A55114736271}"/>
              </a:ext>
            </a:extLst>
          </p:cNvPr>
          <p:cNvSpPr/>
          <p:nvPr/>
        </p:nvSpPr>
        <p:spPr>
          <a:xfrm>
            <a:off x="0" y="134905"/>
            <a:ext cx="12191999"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uFillTx/>
              </a:defRPr>
            </a:pPr>
            <a:r>
              <a:rPr kumimoji="0" lang="en-US" sz="3000" b="1" i="0" u="none" strike="noStrike" kern="1200" cap="none" spc="0" normalizeH="0" baseline="0" noProof="0" dirty="0">
                <a:ln>
                  <a:noFill/>
                </a:ln>
                <a:solidFill>
                  <a:srgbClr val="164397"/>
                </a:solidFill>
                <a:effectLst/>
                <a:uLnTx/>
                <a:uFillTx/>
                <a:latin typeface="Times New Roman" panose="02020603050405020304" pitchFamily="18" charset="0"/>
                <a:cs typeface="Times New Roman" panose="02020603050405020304" pitchFamily="18" charset="0"/>
              </a:rPr>
              <a:t>HÀNH TRÌNH THÚC ĐẨY BÌNH ĐẲNG GIỚI  </a:t>
            </a:r>
          </a:p>
        </p:txBody>
      </p:sp>
      <p:grpSp>
        <p:nvGrpSpPr>
          <p:cNvPr id="61" name="Group 60">
            <a:extLst>
              <a:ext uri="{FF2B5EF4-FFF2-40B4-BE49-F238E27FC236}">
                <a16:creationId xmlns:a16="http://schemas.microsoft.com/office/drawing/2014/main" id="{3313503C-707C-4596-B44D-14C74A04B326}"/>
              </a:ext>
            </a:extLst>
          </p:cNvPr>
          <p:cNvGrpSpPr/>
          <p:nvPr/>
        </p:nvGrpSpPr>
        <p:grpSpPr>
          <a:xfrm>
            <a:off x="5422632" y="799415"/>
            <a:ext cx="1369406" cy="36576"/>
            <a:chOff x="1775295" y="2020905"/>
            <a:chExt cx="3631535" cy="45719"/>
          </a:xfrm>
        </p:grpSpPr>
        <p:sp>
          <p:nvSpPr>
            <p:cNvPr id="100" name="Rectangle 99">
              <a:extLst>
                <a:ext uri="{FF2B5EF4-FFF2-40B4-BE49-F238E27FC236}">
                  <a16:creationId xmlns:a16="http://schemas.microsoft.com/office/drawing/2014/main" id="{470BC6EE-78C1-4690-8C4C-A44522629F9D}"/>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1" name="Rectangle 100">
              <a:extLst>
                <a:ext uri="{FF2B5EF4-FFF2-40B4-BE49-F238E27FC236}">
                  <a16:creationId xmlns:a16="http://schemas.microsoft.com/office/drawing/2014/main" id="{F2076078-EBEC-4022-A755-2AC307129CC8}"/>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6" name="Rectangle 105">
              <a:extLst>
                <a:ext uri="{FF2B5EF4-FFF2-40B4-BE49-F238E27FC236}">
                  <a16:creationId xmlns:a16="http://schemas.microsoft.com/office/drawing/2014/main" id="{4BE4AD52-C0FB-4227-AD15-AF627279C91E}"/>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7" name="Rectangle 106">
              <a:extLst>
                <a:ext uri="{FF2B5EF4-FFF2-40B4-BE49-F238E27FC236}">
                  <a16:creationId xmlns:a16="http://schemas.microsoft.com/office/drawing/2014/main" id="{D1375058-ECCD-42C2-9CA7-009B6F81CAFB}"/>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8" name="Rectangle 107">
              <a:extLst>
                <a:ext uri="{FF2B5EF4-FFF2-40B4-BE49-F238E27FC236}">
                  <a16:creationId xmlns:a16="http://schemas.microsoft.com/office/drawing/2014/main" id="{D157403A-9B8C-4ACF-AAB1-5A08BC96C034}"/>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9" name="Rectangle 108">
              <a:extLst>
                <a:ext uri="{FF2B5EF4-FFF2-40B4-BE49-F238E27FC236}">
                  <a16:creationId xmlns:a16="http://schemas.microsoft.com/office/drawing/2014/main" id="{EEA0289A-D722-43A1-84CF-3398F834475E}"/>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pic>
        <p:nvPicPr>
          <p:cNvPr id="56" name="Picture 2" descr="D:\backup07102013\o dia D\O D xin\logo EVN.jpg">
            <a:extLst>
              <a:ext uri="{FF2B5EF4-FFF2-40B4-BE49-F238E27FC236}">
                <a16:creationId xmlns:a16="http://schemas.microsoft.com/office/drawing/2014/main" id="{5ADD7B63-0DA3-47D5-BC22-FF34A65AD97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2" name="Group 61">
            <a:extLst>
              <a:ext uri="{FF2B5EF4-FFF2-40B4-BE49-F238E27FC236}">
                <a16:creationId xmlns:a16="http://schemas.microsoft.com/office/drawing/2014/main" id="{1806C9C7-C463-4955-ABEA-986F1FF91E25}"/>
              </a:ext>
            </a:extLst>
          </p:cNvPr>
          <p:cNvGrpSpPr/>
          <p:nvPr/>
        </p:nvGrpSpPr>
        <p:grpSpPr>
          <a:xfrm>
            <a:off x="4045634" y="1156924"/>
            <a:ext cx="1106424" cy="1106424"/>
            <a:chOff x="1871333" y="2522497"/>
            <a:chExt cx="1106424" cy="1106424"/>
          </a:xfrm>
        </p:grpSpPr>
        <p:sp>
          <p:nvSpPr>
            <p:cNvPr id="66" name="Oval 65">
              <a:extLst>
                <a:ext uri="{FF2B5EF4-FFF2-40B4-BE49-F238E27FC236}">
                  <a16:creationId xmlns:a16="http://schemas.microsoft.com/office/drawing/2014/main" id="{D82AA21D-1003-489B-8A5A-C5E2BDA568FF}"/>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7" name="Oval 66">
              <a:extLst>
                <a:ext uri="{FF2B5EF4-FFF2-40B4-BE49-F238E27FC236}">
                  <a16:creationId xmlns:a16="http://schemas.microsoft.com/office/drawing/2014/main" id="{F4AD0A1B-8D83-47DE-BA21-1530B924E3A1}"/>
                </a:ext>
              </a:extLst>
            </p:cNvPr>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68" name="Group 67">
            <a:extLst>
              <a:ext uri="{FF2B5EF4-FFF2-40B4-BE49-F238E27FC236}">
                <a16:creationId xmlns:a16="http://schemas.microsoft.com/office/drawing/2014/main" id="{B1195EAC-6AED-4BC4-A339-2343FF5036F1}"/>
              </a:ext>
            </a:extLst>
          </p:cNvPr>
          <p:cNvGrpSpPr/>
          <p:nvPr/>
        </p:nvGrpSpPr>
        <p:grpSpPr>
          <a:xfrm>
            <a:off x="4040211" y="1097289"/>
            <a:ext cx="4126716" cy="1154430"/>
            <a:chOff x="3533878" y="4093533"/>
            <a:chExt cx="4126716" cy="1154430"/>
          </a:xfrm>
        </p:grpSpPr>
        <p:sp>
          <p:nvSpPr>
            <p:cNvPr id="69" name="Freeform: Shape 68">
              <a:extLst>
                <a:ext uri="{FF2B5EF4-FFF2-40B4-BE49-F238E27FC236}">
                  <a16:creationId xmlns:a16="http://schemas.microsoft.com/office/drawing/2014/main" id="{2BC86C74-494E-4211-BF21-A4F54081E0D3}"/>
                </a:ext>
              </a:extLst>
            </p:cNvPr>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70" name="Group 69">
              <a:extLst>
                <a:ext uri="{FF2B5EF4-FFF2-40B4-BE49-F238E27FC236}">
                  <a16:creationId xmlns:a16="http://schemas.microsoft.com/office/drawing/2014/main" id="{424BCCF0-3F53-49E1-85F5-7CD994926BC7}"/>
                </a:ext>
              </a:extLst>
            </p:cNvPr>
            <p:cNvGrpSpPr/>
            <p:nvPr/>
          </p:nvGrpSpPr>
          <p:grpSpPr>
            <a:xfrm>
              <a:off x="6554170" y="4093533"/>
              <a:ext cx="1106424" cy="1106424"/>
              <a:chOff x="1871333" y="2522497"/>
              <a:chExt cx="1106424" cy="1106424"/>
            </a:xfrm>
          </p:grpSpPr>
          <p:sp>
            <p:nvSpPr>
              <p:cNvPr id="74" name="Oval 73">
                <a:extLst>
                  <a:ext uri="{FF2B5EF4-FFF2-40B4-BE49-F238E27FC236}">
                    <a16:creationId xmlns:a16="http://schemas.microsoft.com/office/drawing/2014/main" id="{1BF396C5-9DC9-4836-B509-AEDF585BBF30}"/>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75" name="Oval 74">
                <a:extLst>
                  <a:ext uri="{FF2B5EF4-FFF2-40B4-BE49-F238E27FC236}">
                    <a16:creationId xmlns:a16="http://schemas.microsoft.com/office/drawing/2014/main" id="{3BDB4147-E9E3-4A2F-955F-F0AC3F93ED54}"/>
                  </a:ext>
                </a:extLst>
              </p:cNvPr>
              <p:cNvSpPr>
                <a:spLocks noChangeAspect="1"/>
              </p:cNvSpPr>
              <p:nvPr/>
            </p:nvSpPr>
            <p:spPr>
              <a:xfrm>
                <a:off x="1967345" y="261850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71" name="Group 70">
              <a:extLst>
                <a:ext uri="{FF2B5EF4-FFF2-40B4-BE49-F238E27FC236}">
                  <a16:creationId xmlns:a16="http://schemas.microsoft.com/office/drawing/2014/main" id="{F98FF48D-119E-4AA1-9756-8D41F1AA0EBF}"/>
                </a:ext>
              </a:extLst>
            </p:cNvPr>
            <p:cNvGrpSpPr/>
            <p:nvPr/>
          </p:nvGrpSpPr>
          <p:grpSpPr>
            <a:xfrm>
              <a:off x="3533878" y="4141539"/>
              <a:ext cx="1106424" cy="1106424"/>
              <a:chOff x="1871333" y="2522497"/>
              <a:chExt cx="1106424" cy="1106424"/>
            </a:xfrm>
          </p:grpSpPr>
          <p:sp>
            <p:nvSpPr>
              <p:cNvPr id="72" name="Oval 71">
                <a:extLst>
                  <a:ext uri="{FF2B5EF4-FFF2-40B4-BE49-F238E27FC236}">
                    <a16:creationId xmlns:a16="http://schemas.microsoft.com/office/drawing/2014/main" id="{9E337B3E-2200-492D-8D8B-D966719F7704}"/>
                  </a:ext>
                </a:extLst>
              </p:cNvPr>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73" name="Oval 72">
                <a:extLst>
                  <a:ext uri="{FF2B5EF4-FFF2-40B4-BE49-F238E27FC236}">
                    <a16:creationId xmlns:a16="http://schemas.microsoft.com/office/drawing/2014/main" id="{BCA09337-B392-4459-BA79-B0043AFC2D31}"/>
                  </a:ext>
                </a:extLst>
              </p:cNvPr>
              <p:cNvSpPr>
                <a:spLocks noChangeAspect="1"/>
              </p:cNvSpPr>
              <p:nvPr/>
            </p:nvSpPr>
            <p:spPr>
              <a:xfrm>
                <a:off x="1967345" y="2618509"/>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76" name="Air_hostess" descr="{&quot;Key&quot;:&quot;POWER_USER_SHAPE_ICON&quot;,&quot;Value&quot;:&quot;POWER_USER_SHAPE_ICON_STYLE_1&quot;}">
            <a:extLst>
              <a:ext uri="{FF2B5EF4-FFF2-40B4-BE49-F238E27FC236}">
                <a16:creationId xmlns:a16="http://schemas.microsoft.com/office/drawing/2014/main" id="{5DCBABC1-52EC-4CCE-8C81-7B47FC07C0E4}"/>
              </a:ext>
            </a:extLst>
          </p:cNvPr>
          <p:cNvGrpSpPr>
            <a:grpSpLocks noChangeAspect="1"/>
          </p:cNvGrpSpPr>
          <p:nvPr/>
        </p:nvGrpSpPr>
        <p:grpSpPr>
          <a:xfrm>
            <a:off x="2832136" y="1368266"/>
            <a:ext cx="493812" cy="597218"/>
            <a:chOff x="7264401" y="4197351"/>
            <a:chExt cx="371475" cy="449263"/>
          </a:xfrm>
          <a:solidFill>
            <a:schemeClr val="bg1"/>
          </a:solidFill>
        </p:grpSpPr>
        <p:sp>
          <p:nvSpPr>
            <p:cNvPr id="77" name="Freeform 618">
              <a:extLst>
                <a:ext uri="{FF2B5EF4-FFF2-40B4-BE49-F238E27FC236}">
                  <a16:creationId xmlns:a16="http://schemas.microsoft.com/office/drawing/2014/main" id="{C67C8A13-CAFD-4BF4-B3B3-CCC8444931C1}"/>
                </a:ext>
              </a:extLst>
            </p:cNvPr>
            <p:cNvSpPr>
              <a:spLocks/>
            </p:cNvSpPr>
            <p:nvPr/>
          </p:nvSpPr>
          <p:spPr bwMode="auto">
            <a:xfrm>
              <a:off x="7500938" y="4435476"/>
              <a:ext cx="19050" cy="19050"/>
            </a:xfrm>
            <a:custGeom>
              <a:avLst/>
              <a:gdLst>
                <a:gd name="T0" fmla="*/ 13 w 23"/>
                <a:gd name="T1" fmla="*/ 23 h 23"/>
                <a:gd name="T2" fmla="*/ 0 w 23"/>
                <a:gd name="T3" fmla="*/ 10 h 23"/>
                <a:gd name="T4" fmla="*/ 13 w 23"/>
                <a:gd name="T5" fmla="*/ 0 h 23"/>
                <a:gd name="T6" fmla="*/ 23 w 23"/>
                <a:gd name="T7" fmla="*/ 10 h 23"/>
                <a:gd name="T8" fmla="*/ 13 w 23"/>
                <a:gd name="T9" fmla="*/ 23 h 23"/>
              </a:gdLst>
              <a:ahLst/>
              <a:cxnLst>
                <a:cxn ang="0">
                  <a:pos x="T0" y="T1"/>
                </a:cxn>
                <a:cxn ang="0">
                  <a:pos x="T2" y="T3"/>
                </a:cxn>
                <a:cxn ang="0">
                  <a:pos x="T4" y="T5"/>
                </a:cxn>
                <a:cxn ang="0">
                  <a:pos x="T6" y="T7"/>
                </a:cxn>
                <a:cxn ang="0">
                  <a:pos x="T8" y="T9"/>
                </a:cxn>
              </a:cxnLst>
              <a:rect l="0" t="0" r="r" b="b"/>
              <a:pathLst>
                <a:path w="23" h="23">
                  <a:moveTo>
                    <a:pt x="13" y="23"/>
                  </a:moveTo>
                  <a:cubicBezTo>
                    <a:pt x="8" y="19"/>
                    <a:pt x="3" y="15"/>
                    <a:pt x="0" y="10"/>
                  </a:cubicBezTo>
                  <a:lnTo>
                    <a:pt x="13" y="0"/>
                  </a:lnTo>
                  <a:cubicBezTo>
                    <a:pt x="16" y="4"/>
                    <a:pt x="19" y="7"/>
                    <a:pt x="23" y="10"/>
                  </a:cubicBezTo>
                  <a:lnTo>
                    <a:pt x="1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619">
              <a:extLst>
                <a:ext uri="{FF2B5EF4-FFF2-40B4-BE49-F238E27FC236}">
                  <a16:creationId xmlns:a16="http://schemas.microsoft.com/office/drawing/2014/main" id="{F064D35C-10AF-4B65-B1A3-6ECF9CF635C6}"/>
                </a:ext>
              </a:extLst>
            </p:cNvPr>
            <p:cNvSpPr>
              <a:spLocks noEditPoints="1"/>
            </p:cNvSpPr>
            <p:nvPr/>
          </p:nvSpPr>
          <p:spPr bwMode="auto">
            <a:xfrm>
              <a:off x="7300913" y="4197351"/>
              <a:ext cx="298450" cy="285750"/>
            </a:xfrm>
            <a:custGeom>
              <a:avLst/>
              <a:gdLst>
                <a:gd name="T0" fmla="*/ 360 w 371"/>
                <a:gd name="T1" fmla="*/ 336 h 354"/>
                <a:gd name="T2" fmla="*/ 360 w 371"/>
                <a:gd name="T3" fmla="*/ 336 h 354"/>
                <a:gd name="T4" fmla="*/ 16 w 371"/>
                <a:gd name="T5" fmla="*/ 344 h 354"/>
                <a:gd name="T6" fmla="*/ 16 w 371"/>
                <a:gd name="T7" fmla="*/ 344 h 354"/>
                <a:gd name="T8" fmla="*/ 16 w 371"/>
                <a:gd name="T9" fmla="*/ 344 h 354"/>
                <a:gd name="T10" fmla="*/ 354 w 371"/>
                <a:gd name="T11" fmla="*/ 345 h 354"/>
                <a:gd name="T12" fmla="*/ 354 w 371"/>
                <a:gd name="T13" fmla="*/ 345 h 354"/>
                <a:gd name="T14" fmla="*/ 359 w 371"/>
                <a:gd name="T15" fmla="*/ 353 h 354"/>
                <a:gd name="T16" fmla="*/ 357 w 371"/>
                <a:gd name="T17" fmla="*/ 353 h 354"/>
                <a:gd name="T18" fmla="*/ 339 w 371"/>
                <a:gd name="T19" fmla="*/ 350 h 354"/>
                <a:gd name="T20" fmla="*/ 342 w 371"/>
                <a:gd name="T21" fmla="*/ 334 h 354"/>
                <a:gd name="T22" fmla="*/ 347 w 371"/>
                <a:gd name="T23" fmla="*/ 334 h 354"/>
                <a:gd name="T24" fmla="*/ 319 w 371"/>
                <a:gd name="T25" fmla="*/ 184 h 354"/>
                <a:gd name="T26" fmla="*/ 320 w 371"/>
                <a:gd name="T27" fmla="*/ 165 h 354"/>
                <a:gd name="T28" fmla="*/ 258 w 371"/>
                <a:gd name="T29" fmla="*/ 44 h 354"/>
                <a:gd name="T30" fmla="*/ 112 w 371"/>
                <a:gd name="T31" fmla="*/ 44 h 354"/>
                <a:gd name="T32" fmla="*/ 50 w 371"/>
                <a:gd name="T33" fmla="*/ 165 h 354"/>
                <a:gd name="T34" fmla="*/ 51 w 371"/>
                <a:gd name="T35" fmla="*/ 184 h 354"/>
                <a:gd name="T36" fmla="*/ 23 w 371"/>
                <a:gd name="T37" fmla="*/ 334 h 354"/>
                <a:gd name="T38" fmla="*/ 108 w 371"/>
                <a:gd name="T39" fmla="*/ 295 h 354"/>
                <a:gd name="T40" fmla="*/ 122 w 371"/>
                <a:gd name="T41" fmla="*/ 305 h 354"/>
                <a:gd name="T42" fmla="*/ 13 w 371"/>
                <a:gd name="T43" fmla="*/ 353 h 354"/>
                <a:gd name="T44" fmla="*/ 2 w 371"/>
                <a:gd name="T45" fmla="*/ 347 h 354"/>
                <a:gd name="T46" fmla="*/ 3 w 371"/>
                <a:gd name="T47" fmla="*/ 334 h 354"/>
                <a:gd name="T48" fmla="*/ 34 w 371"/>
                <a:gd name="T49" fmla="*/ 185 h 354"/>
                <a:gd name="T50" fmla="*/ 33 w 371"/>
                <a:gd name="T51" fmla="*/ 166 h 354"/>
                <a:gd name="T52" fmla="*/ 103 w 371"/>
                <a:gd name="T53" fmla="*/ 30 h 354"/>
                <a:gd name="T54" fmla="*/ 267 w 371"/>
                <a:gd name="T55" fmla="*/ 30 h 354"/>
                <a:gd name="T56" fmla="*/ 337 w 371"/>
                <a:gd name="T57" fmla="*/ 166 h 354"/>
                <a:gd name="T58" fmla="*/ 336 w 371"/>
                <a:gd name="T59" fmla="*/ 185 h 354"/>
                <a:gd name="T60" fmla="*/ 368 w 371"/>
                <a:gd name="T61" fmla="*/ 335 h 354"/>
                <a:gd name="T62" fmla="*/ 368 w 371"/>
                <a:gd name="T63" fmla="*/ 348 h 354"/>
                <a:gd name="T64" fmla="*/ 359 w 371"/>
                <a:gd name="T65" fmla="*/ 35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1" h="354">
                  <a:moveTo>
                    <a:pt x="360" y="336"/>
                  </a:moveTo>
                  <a:lnTo>
                    <a:pt x="360" y="336"/>
                  </a:lnTo>
                  <a:close/>
                  <a:moveTo>
                    <a:pt x="16" y="344"/>
                  </a:moveTo>
                  <a:cubicBezTo>
                    <a:pt x="16" y="344"/>
                    <a:pt x="16" y="344"/>
                    <a:pt x="16" y="344"/>
                  </a:cubicBezTo>
                  <a:cubicBezTo>
                    <a:pt x="16" y="344"/>
                    <a:pt x="16" y="344"/>
                    <a:pt x="16" y="344"/>
                  </a:cubicBezTo>
                  <a:close/>
                  <a:moveTo>
                    <a:pt x="354" y="345"/>
                  </a:moveTo>
                  <a:lnTo>
                    <a:pt x="354" y="345"/>
                  </a:lnTo>
                  <a:close/>
                  <a:moveTo>
                    <a:pt x="359" y="353"/>
                  </a:moveTo>
                  <a:cubicBezTo>
                    <a:pt x="358" y="353"/>
                    <a:pt x="358" y="353"/>
                    <a:pt x="357" y="353"/>
                  </a:cubicBezTo>
                  <a:cubicBezTo>
                    <a:pt x="353" y="352"/>
                    <a:pt x="347" y="351"/>
                    <a:pt x="339" y="350"/>
                  </a:cubicBezTo>
                  <a:lnTo>
                    <a:pt x="342" y="334"/>
                  </a:lnTo>
                  <a:cubicBezTo>
                    <a:pt x="344" y="334"/>
                    <a:pt x="345" y="334"/>
                    <a:pt x="347" y="334"/>
                  </a:cubicBezTo>
                  <a:cubicBezTo>
                    <a:pt x="314" y="283"/>
                    <a:pt x="317" y="226"/>
                    <a:pt x="319" y="184"/>
                  </a:cubicBezTo>
                  <a:cubicBezTo>
                    <a:pt x="320" y="178"/>
                    <a:pt x="320" y="171"/>
                    <a:pt x="320" y="165"/>
                  </a:cubicBezTo>
                  <a:cubicBezTo>
                    <a:pt x="321" y="115"/>
                    <a:pt x="297" y="69"/>
                    <a:pt x="258" y="44"/>
                  </a:cubicBezTo>
                  <a:cubicBezTo>
                    <a:pt x="214" y="17"/>
                    <a:pt x="156" y="17"/>
                    <a:pt x="112" y="44"/>
                  </a:cubicBezTo>
                  <a:cubicBezTo>
                    <a:pt x="72" y="69"/>
                    <a:pt x="48" y="115"/>
                    <a:pt x="50" y="165"/>
                  </a:cubicBezTo>
                  <a:cubicBezTo>
                    <a:pt x="50" y="171"/>
                    <a:pt x="50" y="178"/>
                    <a:pt x="51" y="184"/>
                  </a:cubicBezTo>
                  <a:cubicBezTo>
                    <a:pt x="53" y="226"/>
                    <a:pt x="56" y="283"/>
                    <a:pt x="23" y="334"/>
                  </a:cubicBezTo>
                  <a:cubicBezTo>
                    <a:pt x="47" y="330"/>
                    <a:pt x="91" y="319"/>
                    <a:pt x="108" y="295"/>
                  </a:cubicBezTo>
                  <a:lnTo>
                    <a:pt x="122" y="305"/>
                  </a:lnTo>
                  <a:cubicBezTo>
                    <a:pt x="98" y="338"/>
                    <a:pt x="38" y="349"/>
                    <a:pt x="13" y="353"/>
                  </a:cubicBezTo>
                  <a:cubicBezTo>
                    <a:pt x="9" y="354"/>
                    <a:pt x="4" y="351"/>
                    <a:pt x="2" y="347"/>
                  </a:cubicBezTo>
                  <a:cubicBezTo>
                    <a:pt x="0" y="343"/>
                    <a:pt x="0" y="338"/>
                    <a:pt x="3" y="334"/>
                  </a:cubicBezTo>
                  <a:cubicBezTo>
                    <a:pt x="39" y="286"/>
                    <a:pt x="36" y="228"/>
                    <a:pt x="34" y="185"/>
                  </a:cubicBezTo>
                  <a:cubicBezTo>
                    <a:pt x="34" y="178"/>
                    <a:pt x="33" y="172"/>
                    <a:pt x="33" y="166"/>
                  </a:cubicBezTo>
                  <a:cubicBezTo>
                    <a:pt x="32" y="110"/>
                    <a:pt x="58" y="58"/>
                    <a:pt x="103" y="30"/>
                  </a:cubicBezTo>
                  <a:cubicBezTo>
                    <a:pt x="152" y="0"/>
                    <a:pt x="218" y="0"/>
                    <a:pt x="267" y="30"/>
                  </a:cubicBezTo>
                  <a:cubicBezTo>
                    <a:pt x="311" y="58"/>
                    <a:pt x="338" y="110"/>
                    <a:pt x="337" y="166"/>
                  </a:cubicBezTo>
                  <a:cubicBezTo>
                    <a:pt x="337" y="172"/>
                    <a:pt x="336" y="178"/>
                    <a:pt x="336" y="185"/>
                  </a:cubicBezTo>
                  <a:cubicBezTo>
                    <a:pt x="334" y="228"/>
                    <a:pt x="331" y="286"/>
                    <a:pt x="368" y="335"/>
                  </a:cubicBezTo>
                  <a:cubicBezTo>
                    <a:pt x="370" y="339"/>
                    <a:pt x="371" y="344"/>
                    <a:pt x="368" y="348"/>
                  </a:cubicBezTo>
                  <a:cubicBezTo>
                    <a:pt x="366" y="351"/>
                    <a:pt x="363" y="353"/>
                    <a:pt x="359" y="3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620">
              <a:extLst>
                <a:ext uri="{FF2B5EF4-FFF2-40B4-BE49-F238E27FC236}">
                  <a16:creationId xmlns:a16="http://schemas.microsoft.com/office/drawing/2014/main" id="{C86F5607-6221-4EA3-B16A-73010E9B79CF}"/>
                </a:ext>
              </a:extLst>
            </p:cNvPr>
            <p:cNvSpPr>
              <a:spLocks/>
            </p:cNvSpPr>
            <p:nvPr/>
          </p:nvSpPr>
          <p:spPr bwMode="auto">
            <a:xfrm>
              <a:off x="7264401" y="4449763"/>
              <a:ext cx="152400" cy="196850"/>
            </a:xfrm>
            <a:custGeom>
              <a:avLst/>
              <a:gdLst>
                <a:gd name="T0" fmla="*/ 17 w 190"/>
                <a:gd name="T1" fmla="*/ 243 h 243"/>
                <a:gd name="T2" fmla="*/ 0 w 190"/>
                <a:gd name="T3" fmla="*/ 243 h 243"/>
                <a:gd name="T4" fmla="*/ 0 w 190"/>
                <a:gd name="T5" fmla="*/ 170 h 243"/>
                <a:gd name="T6" fmla="*/ 67 w 190"/>
                <a:gd name="T7" fmla="*/ 81 h 243"/>
                <a:gd name="T8" fmla="*/ 148 w 190"/>
                <a:gd name="T9" fmla="*/ 56 h 243"/>
                <a:gd name="T10" fmla="*/ 173 w 190"/>
                <a:gd name="T11" fmla="*/ 23 h 243"/>
                <a:gd name="T12" fmla="*/ 173 w 190"/>
                <a:gd name="T13" fmla="*/ 0 h 243"/>
                <a:gd name="T14" fmla="*/ 190 w 190"/>
                <a:gd name="T15" fmla="*/ 0 h 243"/>
                <a:gd name="T16" fmla="*/ 190 w 190"/>
                <a:gd name="T17" fmla="*/ 23 h 243"/>
                <a:gd name="T18" fmla="*/ 153 w 190"/>
                <a:gd name="T19" fmla="*/ 72 h 243"/>
                <a:gd name="T20" fmla="*/ 72 w 190"/>
                <a:gd name="T21" fmla="*/ 97 h 243"/>
                <a:gd name="T22" fmla="*/ 17 w 190"/>
                <a:gd name="T23" fmla="*/ 171 h 243"/>
                <a:gd name="T24" fmla="*/ 17 w 190"/>
                <a:gd name="T25"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243">
                  <a:moveTo>
                    <a:pt x="17" y="243"/>
                  </a:moveTo>
                  <a:lnTo>
                    <a:pt x="0" y="243"/>
                  </a:lnTo>
                  <a:lnTo>
                    <a:pt x="0" y="170"/>
                  </a:lnTo>
                  <a:cubicBezTo>
                    <a:pt x="0" y="129"/>
                    <a:pt x="27" y="93"/>
                    <a:pt x="67" y="81"/>
                  </a:cubicBezTo>
                  <a:lnTo>
                    <a:pt x="148" y="56"/>
                  </a:lnTo>
                  <a:cubicBezTo>
                    <a:pt x="163" y="52"/>
                    <a:pt x="173" y="39"/>
                    <a:pt x="173" y="23"/>
                  </a:cubicBezTo>
                  <a:lnTo>
                    <a:pt x="173" y="0"/>
                  </a:lnTo>
                  <a:lnTo>
                    <a:pt x="190" y="0"/>
                  </a:lnTo>
                  <a:lnTo>
                    <a:pt x="190" y="23"/>
                  </a:lnTo>
                  <a:cubicBezTo>
                    <a:pt x="190" y="46"/>
                    <a:pt x="175" y="66"/>
                    <a:pt x="153" y="72"/>
                  </a:cubicBezTo>
                  <a:lnTo>
                    <a:pt x="72" y="97"/>
                  </a:lnTo>
                  <a:cubicBezTo>
                    <a:pt x="39" y="107"/>
                    <a:pt x="17" y="137"/>
                    <a:pt x="17" y="171"/>
                  </a:cubicBezTo>
                  <a:lnTo>
                    <a:pt x="17" y="24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621">
              <a:extLst>
                <a:ext uri="{FF2B5EF4-FFF2-40B4-BE49-F238E27FC236}">
                  <a16:creationId xmlns:a16="http://schemas.microsoft.com/office/drawing/2014/main" id="{269CA0E3-3C16-45FA-841D-E6E5B19760E8}"/>
                </a:ext>
              </a:extLst>
            </p:cNvPr>
            <p:cNvSpPr>
              <a:spLocks/>
            </p:cNvSpPr>
            <p:nvPr/>
          </p:nvSpPr>
          <p:spPr bwMode="auto">
            <a:xfrm>
              <a:off x="7548563" y="4506913"/>
              <a:ext cx="87313" cy="139700"/>
            </a:xfrm>
            <a:custGeom>
              <a:avLst/>
              <a:gdLst>
                <a:gd name="T0" fmla="*/ 108 w 108"/>
                <a:gd name="T1" fmla="*/ 173 h 173"/>
                <a:gd name="T2" fmla="*/ 91 w 108"/>
                <a:gd name="T3" fmla="*/ 173 h 173"/>
                <a:gd name="T4" fmla="*/ 91 w 108"/>
                <a:gd name="T5" fmla="*/ 101 h 173"/>
                <a:gd name="T6" fmla="*/ 36 w 108"/>
                <a:gd name="T7" fmla="*/ 27 h 173"/>
                <a:gd name="T8" fmla="*/ 0 w 108"/>
                <a:gd name="T9" fmla="*/ 16 h 173"/>
                <a:gd name="T10" fmla="*/ 4 w 108"/>
                <a:gd name="T11" fmla="*/ 0 h 173"/>
                <a:gd name="T12" fmla="*/ 41 w 108"/>
                <a:gd name="T13" fmla="*/ 11 h 173"/>
                <a:gd name="T14" fmla="*/ 108 w 108"/>
                <a:gd name="T15" fmla="*/ 101 h 173"/>
                <a:gd name="T16" fmla="*/ 108 w 108"/>
                <a:gd name="T1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73">
                  <a:moveTo>
                    <a:pt x="108" y="173"/>
                  </a:moveTo>
                  <a:lnTo>
                    <a:pt x="91" y="173"/>
                  </a:lnTo>
                  <a:lnTo>
                    <a:pt x="91" y="101"/>
                  </a:lnTo>
                  <a:cubicBezTo>
                    <a:pt x="91" y="67"/>
                    <a:pt x="69" y="37"/>
                    <a:pt x="36" y="27"/>
                  </a:cubicBezTo>
                  <a:lnTo>
                    <a:pt x="0" y="16"/>
                  </a:lnTo>
                  <a:lnTo>
                    <a:pt x="4" y="0"/>
                  </a:lnTo>
                  <a:lnTo>
                    <a:pt x="41" y="11"/>
                  </a:lnTo>
                  <a:cubicBezTo>
                    <a:pt x="81" y="23"/>
                    <a:pt x="108" y="59"/>
                    <a:pt x="108" y="101"/>
                  </a:cubicBezTo>
                  <a:lnTo>
                    <a:pt x="108"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622">
              <a:extLst>
                <a:ext uri="{FF2B5EF4-FFF2-40B4-BE49-F238E27FC236}">
                  <a16:creationId xmlns:a16="http://schemas.microsoft.com/office/drawing/2014/main" id="{7BFCC3CB-51AD-41F8-80B9-39823C2BE550}"/>
                </a:ext>
              </a:extLst>
            </p:cNvPr>
            <p:cNvSpPr>
              <a:spLocks/>
            </p:cNvSpPr>
            <p:nvPr/>
          </p:nvSpPr>
          <p:spPr bwMode="auto">
            <a:xfrm>
              <a:off x="7483476" y="4449763"/>
              <a:ext cx="12700" cy="25400"/>
            </a:xfrm>
            <a:custGeom>
              <a:avLst/>
              <a:gdLst>
                <a:gd name="T0" fmla="*/ 1 w 17"/>
                <a:gd name="T1" fmla="*/ 31 h 31"/>
                <a:gd name="T2" fmla="*/ 0 w 17"/>
                <a:gd name="T3" fmla="*/ 23 h 31"/>
                <a:gd name="T4" fmla="*/ 0 w 17"/>
                <a:gd name="T5" fmla="*/ 0 h 31"/>
                <a:gd name="T6" fmla="*/ 17 w 17"/>
                <a:gd name="T7" fmla="*/ 0 h 31"/>
                <a:gd name="T8" fmla="*/ 17 w 17"/>
                <a:gd name="T9" fmla="*/ 23 h 31"/>
                <a:gd name="T10" fmla="*/ 17 w 17"/>
                <a:gd name="T11" fmla="*/ 29 h 31"/>
                <a:gd name="T12" fmla="*/ 1 w 17"/>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 y="31"/>
                  </a:moveTo>
                  <a:cubicBezTo>
                    <a:pt x="0" y="29"/>
                    <a:pt x="0" y="26"/>
                    <a:pt x="0" y="23"/>
                  </a:cubicBezTo>
                  <a:lnTo>
                    <a:pt x="0" y="0"/>
                  </a:lnTo>
                  <a:lnTo>
                    <a:pt x="17" y="0"/>
                  </a:lnTo>
                  <a:lnTo>
                    <a:pt x="17" y="23"/>
                  </a:lnTo>
                  <a:cubicBezTo>
                    <a:pt x="17" y="25"/>
                    <a:pt x="17" y="27"/>
                    <a:pt x="17" y="29"/>
                  </a:cubicBezTo>
                  <a:lnTo>
                    <a:pt x="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623">
              <a:extLst>
                <a:ext uri="{FF2B5EF4-FFF2-40B4-BE49-F238E27FC236}">
                  <a16:creationId xmlns:a16="http://schemas.microsoft.com/office/drawing/2014/main" id="{32D5F48E-11BC-43AE-AF3D-F231AB1E0D57}"/>
                </a:ext>
              </a:extLst>
            </p:cNvPr>
            <p:cNvSpPr>
              <a:spLocks noEditPoints="1"/>
            </p:cNvSpPr>
            <p:nvPr/>
          </p:nvSpPr>
          <p:spPr bwMode="auto">
            <a:xfrm>
              <a:off x="7373938" y="4291013"/>
              <a:ext cx="152400" cy="185738"/>
            </a:xfrm>
            <a:custGeom>
              <a:avLst/>
              <a:gdLst>
                <a:gd name="T0" fmla="*/ 17 w 190"/>
                <a:gd name="T1" fmla="*/ 40 h 230"/>
                <a:gd name="T2" fmla="*/ 17 w 190"/>
                <a:gd name="T3" fmla="*/ 143 h 230"/>
                <a:gd name="T4" fmla="*/ 70 w 190"/>
                <a:gd name="T5" fmla="*/ 207 h 230"/>
                <a:gd name="T6" fmla="*/ 120 w 190"/>
                <a:gd name="T7" fmla="*/ 207 h 230"/>
                <a:gd name="T8" fmla="*/ 173 w 190"/>
                <a:gd name="T9" fmla="*/ 143 h 230"/>
                <a:gd name="T10" fmla="*/ 173 w 190"/>
                <a:gd name="T11" fmla="*/ 30 h 230"/>
                <a:gd name="T12" fmla="*/ 98 w 190"/>
                <a:gd name="T13" fmla="*/ 41 h 230"/>
                <a:gd name="T14" fmla="*/ 17 w 190"/>
                <a:gd name="T15" fmla="*/ 40 h 230"/>
                <a:gd name="T16" fmla="*/ 95 w 190"/>
                <a:gd name="T17" fmla="*/ 230 h 230"/>
                <a:gd name="T18" fmla="*/ 61 w 190"/>
                <a:gd name="T19" fmla="*/ 221 h 230"/>
                <a:gd name="T20" fmla="*/ 0 w 190"/>
                <a:gd name="T21" fmla="*/ 143 h 230"/>
                <a:gd name="T22" fmla="*/ 0 w 190"/>
                <a:gd name="T23" fmla="*/ 24 h 230"/>
                <a:gd name="T24" fmla="*/ 5 w 190"/>
                <a:gd name="T25" fmla="*/ 17 h 230"/>
                <a:gd name="T26" fmla="*/ 14 w 190"/>
                <a:gd name="T27" fmla="*/ 18 h 230"/>
                <a:gd name="T28" fmla="*/ 91 w 190"/>
                <a:gd name="T29" fmla="*/ 26 h 230"/>
                <a:gd name="T30" fmla="*/ 185 w 190"/>
                <a:gd name="T31" fmla="*/ 17 h 230"/>
                <a:gd name="T32" fmla="*/ 190 w 190"/>
                <a:gd name="T33" fmla="*/ 24 h 230"/>
                <a:gd name="T34" fmla="*/ 190 w 190"/>
                <a:gd name="T35" fmla="*/ 143 h 230"/>
                <a:gd name="T36" fmla="*/ 128 w 190"/>
                <a:gd name="T37" fmla="*/ 221 h 230"/>
                <a:gd name="T38" fmla="*/ 95 w 190"/>
                <a:gd name="T39"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230">
                  <a:moveTo>
                    <a:pt x="17" y="40"/>
                  </a:moveTo>
                  <a:lnTo>
                    <a:pt x="17" y="143"/>
                  </a:lnTo>
                  <a:cubicBezTo>
                    <a:pt x="17" y="169"/>
                    <a:pt x="50" y="194"/>
                    <a:pt x="70" y="207"/>
                  </a:cubicBezTo>
                  <a:cubicBezTo>
                    <a:pt x="85" y="216"/>
                    <a:pt x="105" y="216"/>
                    <a:pt x="120" y="207"/>
                  </a:cubicBezTo>
                  <a:cubicBezTo>
                    <a:pt x="140" y="194"/>
                    <a:pt x="173" y="169"/>
                    <a:pt x="173" y="143"/>
                  </a:cubicBezTo>
                  <a:lnTo>
                    <a:pt x="173" y="30"/>
                  </a:lnTo>
                  <a:cubicBezTo>
                    <a:pt x="163" y="27"/>
                    <a:pt x="136" y="23"/>
                    <a:pt x="98" y="41"/>
                  </a:cubicBezTo>
                  <a:cubicBezTo>
                    <a:pt x="63" y="58"/>
                    <a:pt x="33" y="48"/>
                    <a:pt x="17" y="40"/>
                  </a:cubicBezTo>
                  <a:close/>
                  <a:moveTo>
                    <a:pt x="95" y="230"/>
                  </a:moveTo>
                  <a:cubicBezTo>
                    <a:pt x="83" y="230"/>
                    <a:pt x="71" y="227"/>
                    <a:pt x="61" y="221"/>
                  </a:cubicBezTo>
                  <a:cubicBezTo>
                    <a:pt x="33" y="203"/>
                    <a:pt x="0" y="176"/>
                    <a:pt x="0" y="143"/>
                  </a:cubicBezTo>
                  <a:lnTo>
                    <a:pt x="0" y="24"/>
                  </a:lnTo>
                  <a:cubicBezTo>
                    <a:pt x="0" y="21"/>
                    <a:pt x="2" y="18"/>
                    <a:pt x="5" y="17"/>
                  </a:cubicBezTo>
                  <a:cubicBezTo>
                    <a:pt x="8" y="16"/>
                    <a:pt x="11" y="16"/>
                    <a:pt x="14" y="18"/>
                  </a:cubicBezTo>
                  <a:cubicBezTo>
                    <a:pt x="15" y="19"/>
                    <a:pt x="47" y="46"/>
                    <a:pt x="91" y="26"/>
                  </a:cubicBezTo>
                  <a:cubicBezTo>
                    <a:pt x="147" y="0"/>
                    <a:pt x="184" y="16"/>
                    <a:pt x="185" y="17"/>
                  </a:cubicBezTo>
                  <a:cubicBezTo>
                    <a:pt x="188" y="18"/>
                    <a:pt x="190" y="21"/>
                    <a:pt x="190" y="24"/>
                  </a:cubicBezTo>
                  <a:lnTo>
                    <a:pt x="190" y="143"/>
                  </a:lnTo>
                  <a:cubicBezTo>
                    <a:pt x="190" y="176"/>
                    <a:pt x="156" y="203"/>
                    <a:pt x="128" y="221"/>
                  </a:cubicBezTo>
                  <a:cubicBezTo>
                    <a:pt x="118" y="227"/>
                    <a:pt x="107" y="230"/>
                    <a:pt x="95"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Rectangle 624">
              <a:extLst>
                <a:ext uri="{FF2B5EF4-FFF2-40B4-BE49-F238E27FC236}">
                  <a16:creationId xmlns:a16="http://schemas.microsoft.com/office/drawing/2014/main" id="{C374FA18-1E27-4510-8316-EE537BA06BE2}"/>
                </a:ext>
              </a:extLst>
            </p:cNvPr>
            <p:cNvSpPr>
              <a:spLocks noChangeArrowheads="1"/>
            </p:cNvSpPr>
            <p:nvPr/>
          </p:nvSpPr>
          <p:spPr bwMode="auto">
            <a:xfrm>
              <a:off x="7570788" y="4587876"/>
              <a:ext cx="1270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Rectangle 625">
              <a:extLst>
                <a:ext uri="{FF2B5EF4-FFF2-40B4-BE49-F238E27FC236}">
                  <a16:creationId xmlns:a16="http://schemas.microsoft.com/office/drawing/2014/main" id="{092B0757-811E-4E02-94C5-11141C191273}"/>
                </a:ext>
              </a:extLst>
            </p:cNvPr>
            <p:cNvSpPr>
              <a:spLocks noChangeArrowheads="1"/>
            </p:cNvSpPr>
            <p:nvPr/>
          </p:nvSpPr>
          <p:spPr bwMode="auto">
            <a:xfrm>
              <a:off x="7316788" y="4587876"/>
              <a:ext cx="1270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626">
              <a:extLst>
                <a:ext uri="{FF2B5EF4-FFF2-40B4-BE49-F238E27FC236}">
                  <a16:creationId xmlns:a16="http://schemas.microsoft.com/office/drawing/2014/main" id="{8B3EECA7-6CBD-4288-BF50-DE69BF95E1D9}"/>
                </a:ext>
              </a:extLst>
            </p:cNvPr>
            <p:cNvSpPr>
              <a:spLocks/>
            </p:cNvSpPr>
            <p:nvPr/>
          </p:nvSpPr>
          <p:spPr bwMode="auto">
            <a:xfrm>
              <a:off x="7391401" y="4495801"/>
              <a:ext cx="74613" cy="50800"/>
            </a:xfrm>
            <a:custGeom>
              <a:avLst/>
              <a:gdLst>
                <a:gd name="T0" fmla="*/ 74 w 94"/>
                <a:gd name="T1" fmla="*/ 63 h 63"/>
                <a:gd name="T2" fmla="*/ 0 w 94"/>
                <a:gd name="T3" fmla="*/ 0 h 63"/>
                <a:gd name="T4" fmla="*/ 17 w 94"/>
                <a:gd name="T5" fmla="*/ 0 h 63"/>
                <a:gd name="T6" fmla="*/ 74 w 94"/>
                <a:gd name="T7" fmla="*/ 47 h 63"/>
                <a:gd name="T8" fmla="*/ 90 w 94"/>
                <a:gd name="T9" fmla="*/ 45 h 63"/>
                <a:gd name="T10" fmla="*/ 94 w 94"/>
                <a:gd name="T11" fmla="*/ 61 h 63"/>
                <a:gd name="T12" fmla="*/ 74 w 94"/>
                <a:gd name="T13" fmla="*/ 63 h 63"/>
              </a:gdLst>
              <a:ahLst/>
              <a:cxnLst>
                <a:cxn ang="0">
                  <a:pos x="T0" y="T1"/>
                </a:cxn>
                <a:cxn ang="0">
                  <a:pos x="T2" y="T3"/>
                </a:cxn>
                <a:cxn ang="0">
                  <a:pos x="T4" y="T5"/>
                </a:cxn>
                <a:cxn ang="0">
                  <a:pos x="T6" y="T7"/>
                </a:cxn>
                <a:cxn ang="0">
                  <a:pos x="T8" y="T9"/>
                </a:cxn>
                <a:cxn ang="0">
                  <a:pos x="T10" y="T11"/>
                </a:cxn>
                <a:cxn ang="0">
                  <a:pos x="T12" y="T13"/>
                </a:cxn>
              </a:cxnLst>
              <a:rect l="0" t="0" r="r" b="b"/>
              <a:pathLst>
                <a:path w="94" h="63">
                  <a:moveTo>
                    <a:pt x="74" y="63"/>
                  </a:moveTo>
                  <a:cubicBezTo>
                    <a:pt x="33" y="63"/>
                    <a:pt x="0" y="35"/>
                    <a:pt x="0" y="0"/>
                  </a:cubicBezTo>
                  <a:lnTo>
                    <a:pt x="17" y="0"/>
                  </a:lnTo>
                  <a:cubicBezTo>
                    <a:pt x="17" y="26"/>
                    <a:pt x="42" y="47"/>
                    <a:pt x="74" y="47"/>
                  </a:cubicBezTo>
                  <a:cubicBezTo>
                    <a:pt x="79" y="47"/>
                    <a:pt x="85" y="46"/>
                    <a:pt x="90" y="45"/>
                  </a:cubicBezTo>
                  <a:lnTo>
                    <a:pt x="94" y="61"/>
                  </a:lnTo>
                  <a:cubicBezTo>
                    <a:pt x="87" y="63"/>
                    <a:pt x="81" y="63"/>
                    <a:pt x="74"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627">
              <a:extLst>
                <a:ext uri="{FF2B5EF4-FFF2-40B4-BE49-F238E27FC236}">
                  <a16:creationId xmlns:a16="http://schemas.microsoft.com/office/drawing/2014/main" id="{9625CAC5-CE08-4148-A1A1-1614C080ED63}"/>
                </a:ext>
              </a:extLst>
            </p:cNvPr>
            <p:cNvSpPr>
              <a:spLocks noEditPoints="1"/>
            </p:cNvSpPr>
            <p:nvPr/>
          </p:nvSpPr>
          <p:spPr bwMode="auto">
            <a:xfrm>
              <a:off x="7473951" y="4497388"/>
              <a:ext cx="58738" cy="92075"/>
            </a:xfrm>
            <a:custGeom>
              <a:avLst/>
              <a:gdLst>
                <a:gd name="T0" fmla="*/ 37 w 74"/>
                <a:gd name="T1" fmla="*/ 23 h 114"/>
                <a:gd name="T2" fmla="*/ 36 w 74"/>
                <a:gd name="T3" fmla="*/ 25 h 114"/>
                <a:gd name="T4" fmla="*/ 36 w 74"/>
                <a:gd name="T5" fmla="*/ 89 h 114"/>
                <a:gd name="T6" fmla="*/ 37 w 74"/>
                <a:gd name="T7" fmla="*/ 91 h 114"/>
                <a:gd name="T8" fmla="*/ 38 w 74"/>
                <a:gd name="T9" fmla="*/ 89 h 114"/>
                <a:gd name="T10" fmla="*/ 38 w 74"/>
                <a:gd name="T11" fmla="*/ 25 h 114"/>
                <a:gd name="T12" fmla="*/ 37 w 74"/>
                <a:gd name="T13" fmla="*/ 23 h 114"/>
                <a:gd name="T14" fmla="*/ 37 w 74"/>
                <a:gd name="T15" fmla="*/ 114 h 114"/>
                <a:gd name="T16" fmla="*/ 24 w 74"/>
                <a:gd name="T17" fmla="*/ 101 h 114"/>
                <a:gd name="T18" fmla="*/ 24 w 74"/>
                <a:gd name="T19" fmla="*/ 13 h 114"/>
                <a:gd name="T20" fmla="*/ 37 w 74"/>
                <a:gd name="T21" fmla="*/ 0 h 114"/>
                <a:gd name="T22" fmla="*/ 50 w 74"/>
                <a:gd name="T23" fmla="*/ 13 h 114"/>
                <a:gd name="T24" fmla="*/ 50 w 74"/>
                <a:gd name="T25" fmla="*/ 101 h 114"/>
                <a:gd name="T26" fmla="*/ 37 w 74"/>
                <a:gd name="T2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4">
                  <a:moveTo>
                    <a:pt x="37" y="23"/>
                  </a:moveTo>
                  <a:lnTo>
                    <a:pt x="36" y="25"/>
                  </a:lnTo>
                  <a:cubicBezTo>
                    <a:pt x="18" y="42"/>
                    <a:pt x="18" y="71"/>
                    <a:pt x="36" y="89"/>
                  </a:cubicBezTo>
                  <a:lnTo>
                    <a:pt x="37" y="91"/>
                  </a:lnTo>
                  <a:lnTo>
                    <a:pt x="38" y="89"/>
                  </a:lnTo>
                  <a:cubicBezTo>
                    <a:pt x="56" y="71"/>
                    <a:pt x="56" y="42"/>
                    <a:pt x="38" y="25"/>
                  </a:cubicBezTo>
                  <a:lnTo>
                    <a:pt x="37" y="23"/>
                  </a:lnTo>
                  <a:close/>
                  <a:moveTo>
                    <a:pt x="37" y="114"/>
                  </a:moveTo>
                  <a:lnTo>
                    <a:pt x="24" y="101"/>
                  </a:lnTo>
                  <a:cubicBezTo>
                    <a:pt x="0" y="77"/>
                    <a:pt x="0" y="37"/>
                    <a:pt x="24" y="13"/>
                  </a:cubicBezTo>
                  <a:lnTo>
                    <a:pt x="37" y="0"/>
                  </a:lnTo>
                  <a:lnTo>
                    <a:pt x="50" y="13"/>
                  </a:lnTo>
                  <a:cubicBezTo>
                    <a:pt x="74" y="37"/>
                    <a:pt x="74" y="77"/>
                    <a:pt x="50" y="101"/>
                  </a:cubicBezTo>
                  <a:lnTo>
                    <a:pt x="37"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628">
              <a:extLst>
                <a:ext uri="{FF2B5EF4-FFF2-40B4-BE49-F238E27FC236}">
                  <a16:creationId xmlns:a16="http://schemas.microsoft.com/office/drawing/2014/main" id="{5D1A42B4-1CF9-4F92-8917-6890B67D31C4}"/>
                </a:ext>
              </a:extLst>
            </p:cNvPr>
            <p:cNvSpPr>
              <a:spLocks noEditPoints="1"/>
            </p:cNvSpPr>
            <p:nvPr/>
          </p:nvSpPr>
          <p:spPr bwMode="auto">
            <a:xfrm>
              <a:off x="7496176" y="4448176"/>
              <a:ext cx="66675" cy="65088"/>
            </a:xfrm>
            <a:custGeom>
              <a:avLst/>
              <a:gdLst>
                <a:gd name="T0" fmla="*/ 16 w 81"/>
                <a:gd name="T1" fmla="*/ 64 h 81"/>
                <a:gd name="T2" fmla="*/ 18 w 81"/>
                <a:gd name="T3" fmla="*/ 64 h 81"/>
                <a:gd name="T4" fmla="*/ 64 w 81"/>
                <a:gd name="T5" fmla="*/ 19 h 81"/>
                <a:gd name="T6" fmla="*/ 64 w 81"/>
                <a:gd name="T7" fmla="*/ 17 h 81"/>
                <a:gd name="T8" fmla="*/ 62 w 81"/>
                <a:gd name="T9" fmla="*/ 17 h 81"/>
                <a:gd name="T10" fmla="*/ 16 w 81"/>
                <a:gd name="T11" fmla="*/ 62 h 81"/>
                <a:gd name="T12" fmla="*/ 16 w 81"/>
                <a:gd name="T13" fmla="*/ 64 h 81"/>
                <a:gd name="T14" fmla="*/ 18 w 81"/>
                <a:gd name="T15" fmla="*/ 81 h 81"/>
                <a:gd name="T16" fmla="*/ 0 w 81"/>
                <a:gd name="T17" fmla="*/ 81 h 81"/>
                <a:gd name="T18" fmla="*/ 0 w 81"/>
                <a:gd name="T19" fmla="*/ 62 h 81"/>
                <a:gd name="T20" fmla="*/ 62 w 81"/>
                <a:gd name="T21" fmla="*/ 0 h 81"/>
                <a:gd name="T22" fmla="*/ 81 w 81"/>
                <a:gd name="T23" fmla="*/ 0 h 81"/>
                <a:gd name="T24" fmla="*/ 81 w 81"/>
                <a:gd name="T25" fmla="*/ 19 h 81"/>
                <a:gd name="T26" fmla="*/ 18 w 81"/>
                <a:gd name="T2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1">
                  <a:moveTo>
                    <a:pt x="16" y="64"/>
                  </a:moveTo>
                  <a:lnTo>
                    <a:pt x="18" y="64"/>
                  </a:lnTo>
                  <a:cubicBezTo>
                    <a:pt x="43" y="64"/>
                    <a:pt x="64" y="44"/>
                    <a:pt x="64" y="19"/>
                  </a:cubicBezTo>
                  <a:lnTo>
                    <a:pt x="64" y="17"/>
                  </a:lnTo>
                  <a:lnTo>
                    <a:pt x="62" y="17"/>
                  </a:lnTo>
                  <a:cubicBezTo>
                    <a:pt x="37" y="17"/>
                    <a:pt x="16" y="37"/>
                    <a:pt x="16" y="62"/>
                  </a:cubicBezTo>
                  <a:lnTo>
                    <a:pt x="16" y="64"/>
                  </a:lnTo>
                  <a:close/>
                  <a:moveTo>
                    <a:pt x="18" y="81"/>
                  </a:moveTo>
                  <a:lnTo>
                    <a:pt x="0" y="81"/>
                  </a:lnTo>
                  <a:lnTo>
                    <a:pt x="0" y="62"/>
                  </a:lnTo>
                  <a:cubicBezTo>
                    <a:pt x="0" y="28"/>
                    <a:pt x="28" y="0"/>
                    <a:pt x="62" y="0"/>
                  </a:cubicBezTo>
                  <a:lnTo>
                    <a:pt x="81" y="0"/>
                  </a:lnTo>
                  <a:lnTo>
                    <a:pt x="81" y="19"/>
                  </a:lnTo>
                  <a:cubicBezTo>
                    <a:pt x="81" y="53"/>
                    <a:pt x="53" y="81"/>
                    <a:pt x="18"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Rectangle 629">
              <a:extLst>
                <a:ext uri="{FF2B5EF4-FFF2-40B4-BE49-F238E27FC236}">
                  <a16:creationId xmlns:a16="http://schemas.microsoft.com/office/drawing/2014/main" id="{2D682874-8763-4608-B33F-B5052D81469C}"/>
                </a:ext>
              </a:extLst>
            </p:cNvPr>
            <p:cNvSpPr>
              <a:spLocks noChangeArrowheads="1"/>
            </p:cNvSpPr>
            <p:nvPr/>
          </p:nvSpPr>
          <p:spPr bwMode="auto">
            <a:xfrm>
              <a:off x="7359651" y="4589463"/>
              <a:ext cx="4127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9" name="AI2" descr="{&quot;Key&quot;:&quot;POWER_USER_SHAPE_ICON&quot;,&quot;Value&quot;:&quot;POWER_USER_SHAPE_ICON_STYLE_1&quot;}">
            <a:extLst>
              <a:ext uri="{FF2B5EF4-FFF2-40B4-BE49-F238E27FC236}">
                <a16:creationId xmlns:a16="http://schemas.microsoft.com/office/drawing/2014/main" id="{B0A10A8A-9936-4480-9868-3D9BD6DAEF3B}"/>
              </a:ext>
            </a:extLst>
          </p:cNvPr>
          <p:cNvGrpSpPr>
            <a:grpSpLocks noChangeAspect="1"/>
          </p:cNvGrpSpPr>
          <p:nvPr>
            <p:custDataLst>
              <p:tags r:id="rId1"/>
            </p:custDataLst>
          </p:nvPr>
        </p:nvGrpSpPr>
        <p:grpSpPr>
          <a:xfrm>
            <a:off x="4255719" y="1390314"/>
            <a:ext cx="711200" cy="596900"/>
            <a:chOff x="3457576" y="4243388"/>
            <a:chExt cx="711200" cy="596900"/>
          </a:xfrm>
          <a:solidFill>
            <a:schemeClr val="bg1"/>
          </a:solidFill>
        </p:grpSpPr>
        <p:sp>
          <p:nvSpPr>
            <p:cNvPr id="90" name="Freeform 322">
              <a:extLst>
                <a:ext uri="{FF2B5EF4-FFF2-40B4-BE49-F238E27FC236}">
                  <a16:creationId xmlns:a16="http://schemas.microsoft.com/office/drawing/2014/main" id="{BB61B31E-8A78-4F63-A25A-AA0BD00601F5}"/>
                </a:ext>
              </a:extLst>
            </p:cNvPr>
            <p:cNvSpPr>
              <a:spLocks/>
            </p:cNvSpPr>
            <p:nvPr/>
          </p:nvSpPr>
          <p:spPr bwMode="auto">
            <a:xfrm>
              <a:off x="3651251" y="4243388"/>
              <a:ext cx="517525" cy="596900"/>
            </a:xfrm>
            <a:custGeom>
              <a:avLst/>
              <a:gdLst>
                <a:gd name="T0" fmla="*/ 57 w 378"/>
                <a:gd name="T1" fmla="*/ 436 h 436"/>
                <a:gd name="T2" fmla="*/ 41 w 378"/>
                <a:gd name="T3" fmla="*/ 432 h 436"/>
                <a:gd name="T4" fmla="*/ 52 w 378"/>
                <a:gd name="T5" fmla="*/ 391 h 436"/>
                <a:gd name="T6" fmla="*/ 65 w 378"/>
                <a:gd name="T7" fmla="*/ 314 h 436"/>
                <a:gd name="T8" fmla="*/ 61 w 378"/>
                <a:gd name="T9" fmla="*/ 310 h 436"/>
                <a:gd name="T10" fmla="*/ 15 w 378"/>
                <a:gd name="T11" fmla="*/ 239 h 436"/>
                <a:gd name="T12" fmla="*/ 6 w 378"/>
                <a:gd name="T13" fmla="*/ 143 h 436"/>
                <a:gd name="T14" fmla="*/ 170 w 378"/>
                <a:gd name="T15" fmla="*/ 0 h 436"/>
                <a:gd name="T16" fmla="*/ 307 w 378"/>
                <a:gd name="T17" fmla="*/ 72 h 436"/>
                <a:gd name="T18" fmla="*/ 330 w 378"/>
                <a:gd name="T19" fmla="*/ 162 h 436"/>
                <a:gd name="T20" fmla="*/ 368 w 378"/>
                <a:gd name="T21" fmla="*/ 233 h 436"/>
                <a:gd name="T22" fmla="*/ 373 w 378"/>
                <a:gd name="T23" fmla="*/ 262 h 436"/>
                <a:gd name="T24" fmla="*/ 356 w 378"/>
                <a:gd name="T25" fmla="*/ 276 h 436"/>
                <a:gd name="T26" fmla="*/ 336 w 378"/>
                <a:gd name="T27" fmla="*/ 282 h 436"/>
                <a:gd name="T28" fmla="*/ 316 w 378"/>
                <a:gd name="T29" fmla="*/ 308 h 436"/>
                <a:gd name="T30" fmla="*/ 309 w 378"/>
                <a:gd name="T31" fmla="*/ 351 h 436"/>
                <a:gd name="T32" fmla="*/ 309 w 378"/>
                <a:gd name="T33" fmla="*/ 357 h 436"/>
                <a:gd name="T34" fmla="*/ 282 w 378"/>
                <a:gd name="T35" fmla="*/ 384 h 436"/>
                <a:gd name="T36" fmla="*/ 226 w 378"/>
                <a:gd name="T37" fmla="*/ 384 h 436"/>
                <a:gd name="T38" fmla="*/ 213 w 378"/>
                <a:gd name="T39" fmla="*/ 436 h 436"/>
                <a:gd name="T40" fmla="*/ 197 w 378"/>
                <a:gd name="T41" fmla="*/ 432 h 436"/>
                <a:gd name="T42" fmla="*/ 213 w 378"/>
                <a:gd name="T43" fmla="*/ 367 h 436"/>
                <a:gd name="T44" fmla="*/ 282 w 378"/>
                <a:gd name="T45" fmla="*/ 367 h 436"/>
                <a:gd name="T46" fmla="*/ 292 w 378"/>
                <a:gd name="T47" fmla="*/ 357 h 436"/>
                <a:gd name="T48" fmla="*/ 292 w 378"/>
                <a:gd name="T49" fmla="*/ 349 h 436"/>
                <a:gd name="T50" fmla="*/ 300 w 378"/>
                <a:gd name="T51" fmla="*/ 305 h 436"/>
                <a:gd name="T52" fmla="*/ 332 w 378"/>
                <a:gd name="T53" fmla="*/ 265 h 436"/>
                <a:gd name="T54" fmla="*/ 352 w 378"/>
                <a:gd name="T55" fmla="*/ 260 h 436"/>
                <a:gd name="T56" fmla="*/ 358 w 378"/>
                <a:gd name="T57" fmla="*/ 255 h 436"/>
                <a:gd name="T58" fmla="*/ 356 w 378"/>
                <a:gd name="T59" fmla="*/ 245 h 436"/>
                <a:gd name="T60" fmla="*/ 314 w 378"/>
                <a:gd name="T61" fmla="*/ 160 h 436"/>
                <a:gd name="T62" fmla="*/ 293 w 378"/>
                <a:gd name="T63" fmla="*/ 81 h 436"/>
                <a:gd name="T64" fmla="*/ 170 w 378"/>
                <a:gd name="T65" fmla="*/ 16 h 436"/>
                <a:gd name="T66" fmla="*/ 23 w 378"/>
                <a:gd name="T67" fmla="*/ 145 h 436"/>
                <a:gd name="T68" fmla="*/ 30 w 378"/>
                <a:gd name="T69" fmla="*/ 232 h 436"/>
                <a:gd name="T70" fmla="*/ 73 w 378"/>
                <a:gd name="T71" fmla="*/ 299 h 436"/>
                <a:gd name="T72" fmla="*/ 83 w 378"/>
                <a:gd name="T73" fmla="*/ 309 h 436"/>
                <a:gd name="T74" fmla="*/ 68 w 378"/>
                <a:gd name="T75" fmla="*/ 395 h 436"/>
                <a:gd name="T76" fmla="*/ 57 w 378"/>
                <a:gd name="T77"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8" h="436">
                  <a:moveTo>
                    <a:pt x="57" y="436"/>
                  </a:moveTo>
                  <a:lnTo>
                    <a:pt x="41" y="432"/>
                  </a:lnTo>
                  <a:lnTo>
                    <a:pt x="52" y="391"/>
                  </a:lnTo>
                  <a:lnTo>
                    <a:pt x="65" y="314"/>
                  </a:lnTo>
                  <a:lnTo>
                    <a:pt x="61" y="310"/>
                  </a:lnTo>
                  <a:cubicBezTo>
                    <a:pt x="45" y="293"/>
                    <a:pt x="30" y="277"/>
                    <a:pt x="15" y="239"/>
                  </a:cubicBezTo>
                  <a:cubicBezTo>
                    <a:pt x="0" y="203"/>
                    <a:pt x="6" y="145"/>
                    <a:pt x="6" y="143"/>
                  </a:cubicBezTo>
                  <a:cubicBezTo>
                    <a:pt x="17" y="61"/>
                    <a:pt x="88" y="0"/>
                    <a:pt x="170" y="0"/>
                  </a:cubicBezTo>
                  <a:cubicBezTo>
                    <a:pt x="225" y="0"/>
                    <a:pt x="276" y="27"/>
                    <a:pt x="307" y="72"/>
                  </a:cubicBezTo>
                  <a:cubicBezTo>
                    <a:pt x="308" y="74"/>
                    <a:pt x="335" y="117"/>
                    <a:pt x="330" y="162"/>
                  </a:cubicBezTo>
                  <a:cubicBezTo>
                    <a:pt x="327" y="190"/>
                    <a:pt x="356" y="221"/>
                    <a:pt x="368" y="233"/>
                  </a:cubicBezTo>
                  <a:cubicBezTo>
                    <a:pt x="376" y="241"/>
                    <a:pt x="378" y="253"/>
                    <a:pt x="373" y="262"/>
                  </a:cubicBezTo>
                  <a:cubicBezTo>
                    <a:pt x="370" y="269"/>
                    <a:pt x="364" y="274"/>
                    <a:pt x="356" y="276"/>
                  </a:cubicBezTo>
                  <a:lnTo>
                    <a:pt x="336" y="282"/>
                  </a:lnTo>
                  <a:cubicBezTo>
                    <a:pt x="335" y="282"/>
                    <a:pt x="320" y="285"/>
                    <a:pt x="316" y="308"/>
                  </a:cubicBezTo>
                  <a:lnTo>
                    <a:pt x="309" y="351"/>
                  </a:lnTo>
                  <a:lnTo>
                    <a:pt x="309" y="357"/>
                  </a:lnTo>
                  <a:cubicBezTo>
                    <a:pt x="309" y="372"/>
                    <a:pt x="297" y="384"/>
                    <a:pt x="282" y="384"/>
                  </a:cubicBezTo>
                  <a:lnTo>
                    <a:pt x="226" y="384"/>
                  </a:lnTo>
                  <a:lnTo>
                    <a:pt x="213" y="436"/>
                  </a:lnTo>
                  <a:lnTo>
                    <a:pt x="197" y="432"/>
                  </a:lnTo>
                  <a:lnTo>
                    <a:pt x="213" y="367"/>
                  </a:lnTo>
                  <a:lnTo>
                    <a:pt x="282" y="367"/>
                  </a:lnTo>
                  <a:cubicBezTo>
                    <a:pt x="288" y="367"/>
                    <a:pt x="292" y="362"/>
                    <a:pt x="292" y="357"/>
                  </a:cubicBezTo>
                  <a:lnTo>
                    <a:pt x="292" y="349"/>
                  </a:lnTo>
                  <a:lnTo>
                    <a:pt x="300" y="305"/>
                  </a:lnTo>
                  <a:cubicBezTo>
                    <a:pt x="305" y="271"/>
                    <a:pt x="331" y="266"/>
                    <a:pt x="332" y="265"/>
                  </a:cubicBezTo>
                  <a:lnTo>
                    <a:pt x="352" y="260"/>
                  </a:lnTo>
                  <a:cubicBezTo>
                    <a:pt x="355" y="259"/>
                    <a:pt x="357" y="258"/>
                    <a:pt x="358" y="255"/>
                  </a:cubicBezTo>
                  <a:cubicBezTo>
                    <a:pt x="360" y="252"/>
                    <a:pt x="359" y="248"/>
                    <a:pt x="356" y="245"/>
                  </a:cubicBezTo>
                  <a:cubicBezTo>
                    <a:pt x="339" y="228"/>
                    <a:pt x="310" y="194"/>
                    <a:pt x="314" y="160"/>
                  </a:cubicBezTo>
                  <a:cubicBezTo>
                    <a:pt x="317" y="121"/>
                    <a:pt x="293" y="82"/>
                    <a:pt x="293" y="81"/>
                  </a:cubicBezTo>
                  <a:cubicBezTo>
                    <a:pt x="265" y="41"/>
                    <a:pt x="219" y="16"/>
                    <a:pt x="170" y="16"/>
                  </a:cubicBezTo>
                  <a:cubicBezTo>
                    <a:pt x="96" y="16"/>
                    <a:pt x="33" y="72"/>
                    <a:pt x="23" y="145"/>
                  </a:cubicBezTo>
                  <a:cubicBezTo>
                    <a:pt x="23" y="145"/>
                    <a:pt x="17" y="201"/>
                    <a:pt x="30" y="232"/>
                  </a:cubicBezTo>
                  <a:cubicBezTo>
                    <a:pt x="45" y="268"/>
                    <a:pt x="58" y="282"/>
                    <a:pt x="73" y="299"/>
                  </a:cubicBezTo>
                  <a:lnTo>
                    <a:pt x="83" y="309"/>
                  </a:lnTo>
                  <a:lnTo>
                    <a:pt x="68" y="395"/>
                  </a:lnTo>
                  <a:lnTo>
                    <a:pt x="57" y="4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323">
              <a:extLst>
                <a:ext uri="{FF2B5EF4-FFF2-40B4-BE49-F238E27FC236}">
                  <a16:creationId xmlns:a16="http://schemas.microsoft.com/office/drawing/2014/main" id="{9EEBC835-5790-491A-8A54-6BD6F985253D}"/>
                </a:ext>
              </a:extLst>
            </p:cNvPr>
            <p:cNvSpPr>
              <a:spLocks noEditPoints="1"/>
            </p:cNvSpPr>
            <p:nvPr/>
          </p:nvSpPr>
          <p:spPr bwMode="auto">
            <a:xfrm>
              <a:off x="3754438" y="4348163"/>
              <a:ext cx="71438" cy="69850"/>
            </a:xfrm>
            <a:custGeom>
              <a:avLst/>
              <a:gdLst>
                <a:gd name="T0" fmla="*/ 26 w 52"/>
                <a:gd name="T1" fmla="*/ 16 h 51"/>
                <a:gd name="T2" fmla="*/ 17 w 52"/>
                <a:gd name="T3" fmla="*/ 25 h 51"/>
                <a:gd name="T4" fmla="*/ 26 w 52"/>
                <a:gd name="T5" fmla="*/ 35 h 51"/>
                <a:gd name="T6" fmla="*/ 35 w 52"/>
                <a:gd name="T7" fmla="*/ 25 h 51"/>
                <a:gd name="T8" fmla="*/ 26 w 52"/>
                <a:gd name="T9" fmla="*/ 16 h 51"/>
                <a:gd name="T10" fmla="*/ 26 w 52"/>
                <a:gd name="T11" fmla="*/ 51 h 51"/>
                <a:gd name="T12" fmla="*/ 0 w 52"/>
                <a:gd name="T13" fmla="*/ 25 h 51"/>
                <a:gd name="T14" fmla="*/ 26 w 52"/>
                <a:gd name="T15" fmla="*/ 0 h 51"/>
                <a:gd name="T16" fmla="*/ 52 w 52"/>
                <a:gd name="T17" fmla="*/ 25 h 51"/>
                <a:gd name="T18" fmla="*/ 26 w 5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2" y="51"/>
                    <a:pt x="0" y="40"/>
                    <a:pt x="0" y="25"/>
                  </a:cubicBezTo>
                  <a:cubicBezTo>
                    <a:pt x="0" y="11"/>
                    <a:pt x="12" y="0"/>
                    <a:pt x="26" y="0"/>
                  </a:cubicBezTo>
                  <a:cubicBezTo>
                    <a:pt x="40" y="0"/>
                    <a:pt x="52" y="11"/>
                    <a:pt x="52" y="25"/>
                  </a:cubicBezTo>
                  <a:cubicBezTo>
                    <a:pt x="52"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324">
              <a:extLst>
                <a:ext uri="{FF2B5EF4-FFF2-40B4-BE49-F238E27FC236}">
                  <a16:creationId xmlns:a16="http://schemas.microsoft.com/office/drawing/2014/main" id="{5F3C4704-3C99-4530-BDEA-F8FF93CC1911}"/>
                </a:ext>
              </a:extLst>
            </p:cNvPr>
            <p:cNvSpPr>
              <a:spLocks noEditPoints="1"/>
            </p:cNvSpPr>
            <p:nvPr/>
          </p:nvSpPr>
          <p:spPr bwMode="auto">
            <a:xfrm>
              <a:off x="3457576" y="4400550"/>
              <a:ext cx="71438" cy="71438"/>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325">
              <a:extLst>
                <a:ext uri="{FF2B5EF4-FFF2-40B4-BE49-F238E27FC236}">
                  <a16:creationId xmlns:a16="http://schemas.microsoft.com/office/drawing/2014/main" id="{9DC9F4C6-98E5-4225-9CEA-CA4E228EF087}"/>
                </a:ext>
              </a:extLst>
            </p:cNvPr>
            <p:cNvSpPr>
              <a:spLocks noEditPoints="1"/>
            </p:cNvSpPr>
            <p:nvPr/>
          </p:nvSpPr>
          <p:spPr bwMode="auto">
            <a:xfrm>
              <a:off x="3536951" y="4281488"/>
              <a:ext cx="69850" cy="71438"/>
            </a:xfrm>
            <a:custGeom>
              <a:avLst/>
              <a:gdLst>
                <a:gd name="T0" fmla="*/ 25 w 51"/>
                <a:gd name="T1" fmla="*/ 17 h 52"/>
                <a:gd name="T2" fmla="*/ 16 w 51"/>
                <a:gd name="T3" fmla="*/ 26 h 52"/>
                <a:gd name="T4" fmla="*/ 25 w 51"/>
                <a:gd name="T5" fmla="*/ 35 h 52"/>
                <a:gd name="T6" fmla="*/ 35 w 51"/>
                <a:gd name="T7" fmla="*/ 26 h 52"/>
                <a:gd name="T8" fmla="*/ 25 w 51"/>
                <a:gd name="T9" fmla="*/ 17 h 52"/>
                <a:gd name="T10" fmla="*/ 25 w 51"/>
                <a:gd name="T11" fmla="*/ 52 h 52"/>
                <a:gd name="T12" fmla="*/ 0 w 51"/>
                <a:gd name="T13" fmla="*/ 26 h 52"/>
                <a:gd name="T14" fmla="*/ 25 w 51"/>
                <a:gd name="T15" fmla="*/ 0 h 52"/>
                <a:gd name="T16" fmla="*/ 51 w 51"/>
                <a:gd name="T17" fmla="*/ 26 h 52"/>
                <a:gd name="T18" fmla="*/ 25 w 51"/>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2">
                  <a:moveTo>
                    <a:pt x="25" y="17"/>
                  </a:moveTo>
                  <a:cubicBezTo>
                    <a:pt x="20" y="17"/>
                    <a:pt x="16" y="21"/>
                    <a:pt x="16" y="26"/>
                  </a:cubicBezTo>
                  <a:cubicBezTo>
                    <a:pt x="16" y="31"/>
                    <a:pt x="20" y="35"/>
                    <a:pt x="25" y="35"/>
                  </a:cubicBezTo>
                  <a:cubicBezTo>
                    <a:pt x="30" y="35"/>
                    <a:pt x="35" y="31"/>
                    <a:pt x="35" y="26"/>
                  </a:cubicBezTo>
                  <a:cubicBezTo>
                    <a:pt x="35" y="21"/>
                    <a:pt x="30" y="17"/>
                    <a:pt x="25" y="17"/>
                  </a:cubicBezTo>
                  <a:close/>
                  <a:moveTo>
                    <a:pt x="25" y="52"/>
                  </a:moveTo>
                  <a:cubicBezTo>
                    <a:pt x="11" y="52"/>
                    <a:pt x="0" y="40"/>
                    <a:pt x="0" y="26"/>
                  </a:cubicBezTo>
                  <a:cubicBezTo>
                    <a:pt x="0" y="12"/>
                    <a:pt x="11" y="0"/>
                    <a:pt x="25" y="0"/>
                  </a:cubicBezTo>
                  <a:cubicBezTo>
                    <a:pt x="40" y="0"/>
                    <a:pt x="51" y="12"/>
                    <a:pt x="51" y="26"/>
                  </a:cubicBezTo>
                  <a:cubicBezTo>
                    <a:pt x="51" y="40"/>
                    <a:pt x="40" y="52"/>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326">
              <a:extLst>
                <a:ext uri="{FF2B5EF4-FFF2-40B4-BE49-F238E27FC236}">
                  <a16:creationId xmlns:a16="http://schemas.microsoft.com/office/drawing/2014/main" id="{995D60BD-DE59-4567-8E7F-6A1C00E43ADB}"/>
                </a:ext>
              </a:extLst>
            </p:cNvPr>
            <p:cNvSpPr>
              <a:spLocks noEditPoints="1"/>
            </p:cNvSpPr>
            <p:nvPr/>
          </p:nvSpPr>
          <p:spPr bwMode="auto">
            <a:xfrm>
              <a:off x="3554413" y="4710113"/>
              <a:ext cx="69850" cy="69850"/>
            </a:xfrm>
            <a:custGeom>
              <a:avLst/>
              <a:gdLst>
                <a:gd name="T0" fmla="*/ 26 w 51"/>
                <a:gd name="T1" fmla="*/ 16 h 51"/>
                <a:gd name="T2" fmla="*/ 17 w 51"/>
                <a:gd name="T3" fmla="*/ 25 h 51"/>
                <a:gd name="T4" fmla="*/ 26 w 51"/>
                <a:gd name="T5" fmla="*/ 35 h 51"/>
                <a:gd name="T6" fmla="*/ 35 w 51"/>
                <a:gd name="T7" fmla="*/ 25 h 51"/>
                <a:gd name="T8" fmla="*/ 26 w 51"/>
                <a:gd name="T9" fmla="*/ 16 h 51"/>
                <a:gd name="T10" fmla="*/ 26 w 51"/>
                <a:gd name="T11" fmla="*/ 51 h 51"/>
                <a:gd name="T12" fmla="*/ 0 w 51"/>
                <a:gd name="T13" fmla="*/ 25 h 51"/>
                <a:gd name="T14" fmla="*/ 26 w 51"/>
                <a:gd name="T15" fmla="*/ 0 h 51"/>
                <a:gd name="T16" fmla="*/ 51 w 51"/>
                <a:gd name="T17" fmla="*/ 25 h 51"/>
                <a:gd name="T18" fmla="*/ 26 w 5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1" y="51"/>
                    <a:pt x="0" y="40"/>
                    <a:pt x="0" y="25"/>
                  </a:cubicBezTo>
                  <a:cubicBezTo>
                    <a:pt x="0" y="11"/>
                    <a:pt x="11" y="0"/>
                    <a:pt x="26" y="0"/>
                  </a:cubicBezTo>
                  <a:cubicBezTo>
                    <a:pt x="40" y="0"/>
                    <a:pt x="51" y="11"/>
                    <a:pt x="51" y="25"/>
                  </a:cubicBezTo>
                  <a:cubicBezTo>
                    <a:pt x="51"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327">
              <a:extLst>
                <a:ext uri="{FF2B5EF4-FFF2-40B4-BE49-F238E27FC236}">
                  <a16:creationId xmlns:a16="http://schemas.microsoft.com/office/drawing/2014/main" id="{6FD7EBA5-F31A-43A9-8092-6CA426F61FCB}"/>
                </a:ext>
              </a:extLst>
            </p:cNvPr>
            <p:cNvSpPr>
              <a:spLocks noEditPoints="1"/>
            </p:cNvSpPr>
            <p:nvPr/>
          </p:nvSpPr>
          <p:spPr bwMode="auto">
            <a:xfrm>
              <a:off x="3463926" y="4591050"/>
              <a:ext cx="71438" cy="71438"/>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328">
              <a:extLst>
                <a:ext uri="{FF2B5EF4-FFF2-40B4-BE49-F238E27FC236}">
                  <a16:creationId xmlns:a16="http://schemas.microsoft.com/office/drawing/2014/main" id="{3280575C-4AE2-4479-BCE5-B77A1F7B1D00}"/>
                </a:ext>
              </a:extLst>
            </p:cNvPr>
            <p:cNvSpPr>
              <a:spLocks noEditPoints="1"/>
            </p:cNvSpPr>
            <p:nvPr/>
          </p:nvSpPr>
          <p:spPr bwMode="auto">
            <a:xfrm>
              <a:off x="3822701" y="4454525"/>
              <a:ext cx="68263" cy="69850"/>
            </a:xfrm>
            <a:custGeom>
              <a:avLst/>
              <a:gdLst>
                <a:gd name="T0" fmla="*/ 26 w 51"/>
                <a:gd name="T1" fmla="*/ 16 h 51"/>
                <a:gd name="T2" fmla="*/ 17 w 51"/>
                <a:gd name="T3" fmla="*/ 25 h 51"/>
                <a:gd name="T4" fmla="*/ 26 w 51"/>
                <a:gd name="T5" fmla="*/ 35 h 51"/>
                <a:gd name="T6" fmla="*/ 35 w 51"/>
                <a:gd name="T7" fmla="*/ 25 h 51"/>
                <a:gd name="T8" fmla="*/ 26 w 51"/>
                <a:gd name="T9" fmla="*/ 16 h 51"/>
                <a:gd name="T10" fmla="*/ 26 w 51"/>
                <a:gd name="T11" fmla="*/ 51 h 51"/>
                <a:gd name="T12" fmla="*/ 0 w 51"/>
                <a:gd name="T13" fmla="*/ 25 h 51"/>
                <a:gd name="T14" fmla="*/ 26 w 51"/>
                <a:gd name="T15" fmla="*/ 0 h 51"/>
                <a:gd name="T16" fmla="*/ 51 w 51"/>
                <a:gd name="T17" fmla="*/ 25 h 51"/>
                <a:gd name="T18" fmla="*/ 26 w 5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1" y="51"/>
                    <a:pt x="0" y="40"/>
                    <a:pt x="0" y="25"/>
                  </a:cubicBezTo>
                  <a:cubicBezTo>
                    <a:pt x="0" y="11"/>
                    <a:pt x="11" y="0"/>
                    <a:pt x="26" y="0"/>
                  </a:cubicBezTo>
                  <a:cubicBezTo>
                    <a:pt x="40" y="0"/>
                    <a:pt x="51" y="11"/>
                    <a:pt x="51" y="25"/>
                  </a:cubicBezTo>
                  <a:cubicBezTo>
                    <a:pt x="51"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329">
              <a:extLst>
                <a:ext uri="{FF2B5EF4-FFF2-40B4-BE49-F238E27FC236}">
                  <a16:creationId xmlns:a16="http://schemas.microsoft.com/office/drawing/2014/main" id="{C7829C72-0C40-42EF-A12C-74B40B06A0E9}"/>
                </a:ext>
              </a:extLst>
            </p:cNvPr>
            <p:cNvSpPr>
              <a:spLocks noEditPoints="1"/>
            </p:cNvSpPr>
            <p:nvPr/>
          </p:nvSpPr>
          <p:spPr bwMode="auto">
            <a:xfrm>
              <a:off x="3832226" y="4635500"/>
              <a:ext cx="71438" cy="69850"/>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330">
              <a:extLst>
                <a:ext uri="{FF2B5EF4-FFF2-40B4-BE49-F238E27FC236}">
                  <a16:creationId xmlns:a16="http://schemas.microsoft.com/office/drawing/2014/main" id="{FDCD0A6D-5461-4E58-BB38-F5A91C7EA8A9}"/>
                </a:ext>
              </a:extLst>
            </p:cNvPr>
            <p:cNvSpPr>
              <a:spLocks/>
            </p:cNvSpPr>
            <p:nvPr/>
          </p:nvSpPr>
          <p:spPr bwMode="auto">
            <a:xfrm>
              <a:off x="3570288" y="4319588"/>
              <a:ext cx="127000" cy="68263"/>
            </a:xfrm>
            <a:custGeom>
              <a:avLst/>
              <a:gdLst>
                <a:gd name="T0" fmla="*/ 80 w 80"/>
                <a:gd name="T1" fmla="*/ 43 h 43"/>
                <a:gd name="T2" fmla="*/ 33 w 80"/>
                <a:gd name="T3" fmla="*/ 43 h 43"/>
                <a:gd name="T4" fmla="*/ 0 w 80"/>
                <a:gd name="T5" fmla="*/ 10 h 43"/>
                <a:gd name="T6" fmla="*/ 10 w 80"/>
                <a:gd name="T7" fmla="*/ 0 h 43"/>
                <a:gd name="T8" fmla="*/ 39 w 80"/>
                <a:gd name="T9" fmla="*/ 29 h 43"/>
                <a:gd name="T10" fmla="*/ 80 w 80"/>
                <a:gd name="T11" fmla="*/ 29 h 43"/>
                <a:gd name="T12" fmla="*/ 80 w 80"/>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80" h="43">
                  <a:moveTo>
                    <a:pt x="80" y="43"/>
                  </a:moveTo>
                  <a:lnTo>
                    <a:pt x="33" y="43"/>
                  </a:lnTo>
                  <a:lnTo>
                    <a:pt x="0" y="10"/>
                  </a:lnTo>
                  <a:lnTo>
                    <a:pt x="10" y="0"/>
                  </a:lnTo>
                  <a:lnTo>
                    <a:pt x="39" y="29"/>
                  </a:lnTo>
                  <a:lnTo>
                    <a:pt x="80" y="29"/>
                  </a:lnTo>
                  <a:lnTo>
                    <a:pt x="8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331">
              <a:extLst>
                <a:ext uri="{FF2B5EF4-FFF2-40B4-BE49-F238E27FC236}">
                  <a16:creationId xmlns:a16="http://schemas.microsoft.com/office/drawing/2014/main" id="{28CE1030-3E79-4109-8282-A5026F87CF7C}"/>
                </a:ext>
              </a:extLst>
            </p:cNvPr>
            <p:cNvSpPr>
              <a:spLocks/>
            </p:cNvSpPr>
            <p:nvPr/>
          </p:nvSpPr>
          <p:spPr bwMode="auto">
            <a:xfrm>
              <a:off x="3497263" y="4435475"/>
              <a:ext cx="184150" cy="66675"/>
            </a:xfrm>
            <a:custGeom>
              <a:avLst/>
              <a:gdLst>
                <a:gd name="T0" fmla="*/ 116 w 116"/>
                <a:gd name="T1" fmla="*/ 42 h 42"/>
                <a:gd name="T2" fmla="*/ 31 w 116"/>
                <a:gd name="T3" fmla="*/ 42 h 42"/>
                <a:gd name="T4" fmla="*/ 0 w 116"/>
                <a:gd name="T5" fmla="*/ 10 h 42"/>
                <a:gd name="T6" fmla="*/ 9 w 116"/>
                <a:gd name="T7" fmla="*/ 0 h 42"/>
                <a:gd name="T8" fmla="*/ 37 w 116"/>
                <a:gd name="T9" fmla="*/ 27 h 42"/>
                <a:gd name="T10" fmla="*/ 116 w 116"/>
                <a:gd name="T11" fmla="*/ 27 h 42"/>
                <a:gd name="T12" fmla="*/ 116 w 116"/>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16" h="42">
                  <a:moveTo>
                    <a:pt x="116" y="42"/>
                  </a:moveTo>
                  <a:lnTo>
                    <a:pt x="31" y="42"/>
                  </a:lnTo>
                  <a:lnTo>
                    <a:pt x="0" y="10"/>
                  </a:lnTo>
                  <a:lnTo>
                    <a:pt x="9" y="0"/>
                  </a:lnTo>
                  <a:lnTo>
                    <a:pt x="37" y="27"/>
                  </a:lnTo>
                  <a:lnTo>
                    <a:pt x="116" y="27"/>
                  </a:lnTo>
                  <a:lnTo>
                    <a:pt x="11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332">
              <a:extLst>
                <a:ext uri="{FF2B5EF4-FFF2-40B4-BE49-F238E27FC236}">
                  <a16:creationId xmlns:a16="http://schemas.microsoft.com/office/drawing/2014/main" id="{F9865CC3-4469-4C48-96EE-DD81D0F8BAF4}"/>
                </a:ext>
              </a:extLst>
            </p:cNvPr>
            <p:cNvSpPr>
              <a:spLocks/>
            </p:cNvSpPr>
            <p:nvPr/>
          </p:nvSpPr>
          <p:spPr bwMode="auto">
            <a:xfrm>
              <a:off x="3506788" y="4575175"/>
              <a:ext cx="190500" cy="52388"/>
            </a:xfrm>
            <a:custGeom>
              <a:avLst/>
              <a:gdLst>
                <a:gd name="T0" fmla="*/ 9 w 120"/>
                <a:gd name="T1" fmla="*/ 33 h 33"/>
                <a:gd name="T2" fmla="*/ 0 w 120"/>
                <a:gd name="T3" fmla="*/ 24 h 33"/>
                <a:gd name="T4" fmla="*/ 22 w 120"/>
                <a:gd name="T5" fmla="*/ 0 h 33"/>
                <a:gd name="T6" fmla="*/ 120 w 120"/>
                <a:gd name="T7" fmla="*/ 0 h 33"/>
                <a:gd name="T8" fmla="*/ 120 w 120"/>
                <a:gd name="T9" fmla="*/ 15 h 33"/>
                <a:gd name="T10" fmla="*/ 28 w 120"/>
                <a:gd name="T11" fmla="*/ 15 h 33"/>
                <a:gd name="T12" fmla="*/ 9 w 12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20" h="33">
                  <a:moveTo>
                    <a:pt x="9" y="33"/>
                  </a:moveTo>
                  <a:lnTo>
                    <a:pt x="0" y="24"/>
                  </a:lnTo>
                  <a:lnTo>
                    <a:pt x="22" y="0"/>
                  </a:lnTo>
                  <a:lnTo>
                    <a:pt x="120" y="0"/>
                  </a:lnTo>
                  <a:lnTo>
                    <a:pt x="120" y="15"/>
                  </a:lnTo>
                  <a:lnTo>
                    <a:pt x="28" y="15"/>
                  </a:lnTo>
                  <a:lnTo>
                    <a:pt x="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333">
              <a:extLst>
                <a:ext uri="{FF2B5EF4-FFF2-40B4-BE49-F238E27FC236}">
                  <a16:creationId xmlns:a16="http://schemas.microsoft.com/office/drawing/2014/main" id="{14B9CAFD-BE66-4F35-9723-127D94E92302}"/>
                </a:ext>
              </a:extLst>
            </p:cNvPr>
            <p:cNvSpPr>
              <a:spLocks/>
            </p:cNvSpPr>
            <p:nvPr/>
          </p:nvSpPr>
          <p:spPr bwMode="auto">
            <a:xfrm>
              <a:off x="3590926" y="4660900"/>
              <a:ext cx="166688" cy="84138"/>
            </a:xfrm>
            <a:custGeom>
              <a:avLst/>
              <a:gdLst>
                <a:gd name="T0" fmla="*/ 9 w 105"/>
                <a:gd name="T1" fmla="*/ 53 h 53"/>
                <a:gd name="T2" fmla="*/ 0 w 105"/>
                <a:gd name="T3" fmla="*/ 43 h 53"/>
                <a:gd name="T4" fmla="*/ 42 w 105"/>
                <a:gd name="T5" fmla="*/ 0 h 53"/>
                <a:gd name="T6" fmla="*/ 105 w 105"/>
                <a:gd name="T7" fmla="*/ 0 h 53"/>
                <a:gd name="T8" fmla="*/ 105 w 105"/>
                <a:gd name="T9" fmla="*/ 15 h 53"/>
                <a:gd name="T10" fmla="*/ 48 w 105"/>
                <a:gd name="T11" fmla="*/ 15 h 53"/>
                <a:gd name="T12" fmla="*/ 9 w 10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05" h="53">
                  <a:moveTo>
                    <a:pt x="9" y="53"/>
                  </a:moveTo>
                  <a:lnTo>
                    <a:pt x="0" y="43"/>
                  </a:lnTo>
                  <a:lnTo>
                    <a:pt x="42" y="0"/>
                  </a:lnTo>
                  <a:lnTo>
                    <a:pt x="105" y="0"/>
                  </a:lnTo>
                  <a:lnTo>
                    <a:pt x="105" y="15"/>
                  </a:lnTo>
                  <a:lnTo>
                    <a:pt x="48" y="15"/>
                  </a:lnTo>
                  <a:lnTo>
                    <a:pt x="9"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334">
              <a:extLst>
                <a:ext uri="{FF2B5EF4-FFF2-40B4-BE49-F238E27FC236}">
                  <a16:creationId xmlns:a16="http://schemas.microsoft.com/office/drawing/2014/main" id="{FC564D4C-5C2C-49ED-AB03-3F0354DDF887}"/>
                </a:ext>
              </a:extLst>
            </p:cNvPr>
            <p:cNvSpPr>
              <a:spLocks/>
            </p:cNvSpPr>
            <p:nvPr/>
          </p:nvSpPr>
          <p:spPr bwMode="auto">
            <a:xfrm>
              <a:off x="3665538" y="4383088"/>
              <a:ext cx="123825" cy="68263"/>
            </a:xfrm>
            <a:custGeom>
              <a:avLst/>
              <a:gdLst>
                <a:gd name="T0" fmla="*/ 44 w 78"/>
                <a:gd name="T1" fmla="*/ 43 h 43"/>
                <a:gd name="T2" fmla="*/ 0 w 78"/>
                <a:gd name="T3" fmla="*/ 43 h 43"/>
                <a:gd name="T4" fmla="*/ 0 w 78"/>
                <a:gd name="T5" fmla="*/ 29 h 43"/>
                <a:gd name="T6" fmla="*/ 38 w 78"/>
                <a:gd name="T7" fmla="*/ 29 h 43"/>
                <a:gd name="T8" fmla="*/ 68 w 78"/>
                <a:gd name="T9" fmla="*/ 0 h 43"/>
                <a:gd name="T10" fmla="*/ 78 w 78"/>
                <a:gd name="T11" fmla="*/ 10 h 43"/>
                <a:gd name="T12" fmla="*/ 44 w 78"/>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78" h="43">
                  <a:moveTo>
                    <a:pt x="44" y="43"/>
                  </a:moveTo>
                  <a:lnTo>
                    <a:pt x="0" y="43"/>
                  </a:lnTo>
                  <a:lnTo>
                    <a:pt x="0" y="29"/>
                  </a:lnTo>
                  <a:lnTo>
                    <a:pt x="38" y="29"/>
                  </a:lnTo>
                  <a:lnTo>
                    <a:pt x="68" y="0"/>
                  </a:lnTo>
                  <a:lnTo>
                    <a:pt x="78" y="10"/>
                  </a:lnTo>
                  <a:lnTo>
                    <a:pt x="4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335">
              <a:extLst>
                <a:ext uri="{FF2B5EF4-FFF2-40B4-BE49-F238E27FC236}">
                  <a16:creationId xmlns:a16="http://schemas.microsoft.com/office/drawing/2014/main" id="{F08C38C1-5CB1-4BFD-B883-B639F726D949}"/>
                </a:ext>
              </a:extLst>
            </p:cNvPr>
            <p:cNvSpPr>
              <a:spLocks/>
            </p:cNvSpPr>
            <p:nvPr/>
          </p:nvSpPr>
          <p:spPr bwMode="auto">
            <a:xfrm>
              <a:off x="3665538" y="4494213"/>
              <a:ext cx="192088" cy="57150"/>
            </a:xfrm>
            <a:custGeom>
              <a:avLst/>
              <a:gdLst>
                <a:gd name="T0" fmla="*/ 95 w 121"/>
                <a:gd name="T1" fmla="*/ 36 h 36"/>
                <a:gd name="T2" fmla="*/ 0 w 121"/>
                <a:gd name="T3" fmla="*/ 36 h 36"/>
                <a:gd name="T4" fmla="*/ 0 w 121"/>
                <a:gd name="T5" fmla="*/ 22 h 36"/>
                <a:gd name="T6" fmla="*/ 89 w 121"/>
                <a:gd name="T7" fmla="*/ 22 h 36"/>
                <a:gd name="T8" fmla="*/ 111 w 121"/>
                <a:gd name="T9" fmla="*/ 0 h 36"/>
                <a:gd name="T10" fmla="*/ 121 w 121"/>
                <a:gd name="T11" fmla="*/ 10 h 36"/>
                <a:gd name="T12" fmla="*/ 95 w 12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1" h="36">
                  <a:moveTo>
                    <a:pt x="95" y="36"/>
                  </a:moveTo>
                  <a:lnTo>
                    <a:pt x="0" y="36"/>
                  </a:lnTo>
                  <a:lnTo>
                    <a:pt x="0" y="22"/>
                  </a:lnTo>
                  <a:lnTo>
                    <a:pt x="89" y="22"/>
                  </a:lnTo>
                  <a:lnTo>
                    <a:pt x="111" y="0"/>
                  </a:lnTo>
                  <a:lnTo>
                    <a:pt x="121" y="10"/>
                  </a:lnTo>
                  <a:lnTo>
                    <a:pt x="9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336">
              <a:extLst>
                <a:ext uri="{FF2B5EF4-FFF2-40B4-BE49-F238E27FC236}">
                  <a16:creationId xmlns:a16="http://schemas.microsoft.com/office/drawing/2014/main" id="{385EC79D-E385-4164-B961-5C47151AE11E}"/>
                </a:ext>
              </a:extLst>
            </p:cNvPr>
            <p:cNvSpPr>
              <a:spLocks/>
            </p:cNvSpPr>
            <p:nvPr/>
          </p:nvSpPr>
          <p:spPr bwMode="auto">
            <a:xfrm>
              <a:off x="3705226" y="4611688"/>
              <a:ext cx="163513" cy="57150"/>
            </a:xfrm>
            <a:custGeom>
              <a:avLst/>
              <a:gdLst>
                <a:gd name="T0" fmla="*/ 93 w 103"/>
                <a:gd name="T1" fmla="*/ 36 h 36"/>
                <a:gd name="T2" fmla="*/ 72 w 103"/>
                <a:gd name="T3" fmla="*/ 14 h 36"/>
                <a:gd name="T4" fmla="*/ 0 w 103"/>
                <a:gd name="T5" fmla="*/ 14 h 36"/>
                <a:gd name="T6" fmla="*/ 0 w 103"/>
                <a:gd name="T7" fmla="*/ 0 h 36"/>
                <a:gd name="T8" fmla="*/ 78 w 103"/>
                <a:gd name="T9" fmla="*/ 0 h 36"/>
                <a:gd name="T10" fmla="*/ 103 w 103"/>
                <a:gd name="T11" fmla="*/ 26 h 36"/>
                <a:gd name="T12" fmla="*/ 93 w 103"/>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03" h="36">
                  <a:moveTo>
                    <a:pt x="93" y="36"/>
                  </a:moveTo>
                  <a:lnTo>
                    <a:pt x="72" y="14"/>
                  </a:lnTo>
                  <a:lnTo>
                    <a:pt x="0" y="14"/>
                  </a:lnTo>
                  <a:lnTo>
                    <a:pt x="0" y="0"/>
                  </a:lnTo>
                  <a:lnTo>
                    <a:pt x="78" y="0"/>
                  </a:lnTo>
                  <a:lnTo>
                    <a:pt x="103" y="26"/>
                  </a:lnTo>
                  <a:lnTo>
                    <a:pt x="9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1" name="Alarm4" descr="{&quot;Key&quot;:&quot;POWER_USER_SHAPE_ICON&quot;,&quot;Value&quot;:&quot;POWER_USER_SHAPE_ICON_STYLE_1&quot;}">
            <a:extLst>
              <a:ext uri="{FF2B5EF4-FFF2-40B4-BE49-F238E27FC236}">
                <a16:creationId xmlns:a16="http://schemas.microsoft.com/office/drawing/2014/main" id="{E6A1D1B1-CA69-46B6-83E0-E4EF378D52F5}"/>
              </a:ext>
            </a:extLst>
          </p:cNvPr>
          <p:cNvGrpSpPr>
            <a:grpSpLocks noChangeAspect="1"/>
          </p:cNvGrpSpPr>
          <p:nvPr/>
        </p:nvGrpSpPr>
        <p:grpSpPr>
          <a:xfrm>
            <a:off x="7336872" y="1300307"/>
            <a:ext cx="527926" cy="597218"/>
            <a:chOff x="7680326" y="6435725"/>
            <a:chExt cx="254000" cy="287338"/>
          </a:xfrm>
          <a:solidFill>
            <a:schemeClr val="bg1"/>
          </a:solidFill>
        </p:grpSpPr>
        <p:sp>
          <p:nvSpPr>
            <p:cNvPr id="158" name="Freeform 99">
              <a:extLst>
                <a:ext uri="{FF2B5EF4-FFF2-40B4-BE49-F238E27FC236}">
                  <a16:creationId xmlns:a16="http://schemas.microsoft.com/office/drawing/2014/main" id="{0140B1A9-7CAE-44ED-A1A5-DAD959BFB7E3}"/>
                </a:ext>
              </a:extLst>
            </p:cNvPr>
            <p:cNvSpPr>
              <a:spLocks/>
            </p:cNvSpPr>
            <p:nvPr/>
          </p:nvSpPr>
          <p:spPr bwMode="auto">
            <a:xfrm>
              <a:off x="7700963" y="6662738"/>
              <a:ext cx="212725" cy="60325"/>
            </a:xfrm>
            <a:custGeom>
              <a:avLst/>
              <a:gdLst>
                <a:gd name="T0" fmla="*/ 982 w 1032"/>
                <a:gd name="T1" fmla="*/ 279 h 296"/>
                <a:gd name="T2" fmla="*/ 982 w 1032"/>
                <a:gd name="T3" fmla="*/ 263 h 296"/>
                <a:gd name="T4" fmla="*/ 50 w 1032"/>
                <a:gd name="T5" fmla="*/ 263 h 296"/>
                <a:gd name="T6" fmla="*/ 34 w 1032"/>
                <a:gd name="T7" fmla="*/ 246 h 296"/>
                <a:gd name="T8" fmla="*/ 34 w 1032"/>
                <a:gd name="T9" fmla="*/ 50 h 296"/>
                <a:gd name="T10" fmla="*/ 50 w 1032"/>
                <a:gd name="T11" fmla="*/ 33 h 296"/>
                <a:gd name="T12" fmla="*/ 982 w 1032"/>
                <a:gd name="T13" fmla="*/ 33 h 296"/>
                <a:gd name="T14" fmla="*/ 999 w 1032"/>
                <a:gd name="T15" fmla="*/ 50 h 296"/>
                <a:gd name="T16" fmla="*/ 999 w 1032"/>
                <a:gd name="T17" fmla="*/ 246 h 296"/>
                <a:gd name="T18" fmla="*/ 982 w 1032"/>
                <a:gd name="T19" fmla="*/ 263 h 296"/>
                <a:gd name="T20" fmla="*/ 982 w 1032"/>
                <a:gd name="T21" fmla="*/ 279 h 296"/>
                <a:gd name="T22" fmla="*/ 982 w 1032"/>
                <a:gd name="T23" fmla="*/ 296 h 296"/>
                <a:gd name="T24" fmla="*/ 1032 w 1032"/>
                <a:gd name="T25" fmla="*/ 246 h 296"/>
                <a:gd name="T26" fmla="*/ 1032 w 1032"/>
                <a:gd name="T27" fmla="*/ 50 h 296"/>
                <a:gd name="T28" fmla="*/ 982 w 1032"/>
                <a:gd name="T29" fmla="*/ 0 h 296"/>
                <a:gd name="T30" fmla="*/ 50 w 1032"/>
                <a:gd name="T31" fmla="*/ 0 h 296"/>
                <a:gd name="T32" fmla="*/ 0 w 1032"/>
                <a:gd name="T33" fmla="*/ 50 h 296"/>
                <a:gd name="T34" fmla="*/ 0 w 1032"/>
                <a:gd name="T35" fmla="*/ 246 h 296"/>
                <a:gd name="T36" fmla="*/ 50 w 1032"/>
                <a:gd name="T37" fmla="*/ 296 h 296"/>
                <a:gd name="T38" fmla="*/ 982 w 1032"/>
                <a:gd name="T39" fmla="*/ 296 h 296"/>
                <a:gd name="T40" fmla="*/ 982 w 1032"/>
                <a:gd name="T41" fmla="*/ 2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2" h="296">
                  <a:moveTo>
                    <a:pt x="982" y="279"/>
                  </a:moveTo>
                  <a:lnTo>
                    <a:pt x="982" y="263"/>
                  </a:lnTo>
                  <a:lnTo>
                    <a:pt x="50" y="263"/>
                  </a:lnTo>
                  <a:cubicBezTo>
                    <a:pt x="41" y="263"/>
                    <a:pt x="34" y="255"/>
                    <a:pt x="34" y="246"/>
                  </a:cubicBezTo>
                  <a:lnTo>
                    <a:pt x="34" y="50"/>
                  </a:lnTo>
                  <a:cubicBezTo>
                    <a:pt x="34" y="41"/>
                    <a:pt x="41" y="33"/>
                    <a:pt x="50" y="33"/>
                  </a:cubicBezTo>
                  <a:lnTo>
                    <a:pt x="982" y="33"/>
                  </a:lnTo>
                  <a:cubicBezTo>
                    <a:pt x="992" y="33"/>
                    <a:pt x="999" y="41"/>
                    <a:pt x="999" y="50"/>
                  </a:cubicBezTo>
                  <a:lnTo>
                    <a:pt x="999" y="246"/>
                  </a:lnTo>
                  <a:cubicBezTo>
                    <a:pt x="999" y="255"/>
                    <a:pt x="992" y="263"/>
                    <a:pt x="982" y="263"/>
                  </a:cubicBezTo>
                  <a:lnTo>
                    <a:pt x="982" y="279"/>
                  </a:lnTo>
                  <a:lnTo>
                    <a:pt x="982" y="296"/>
                  </a:lnTo>
                  <a:cubicBezTo>
                    <a:pt x="1010" y="296"/>
                    <a:pt x="1032" y="274"/>
                    <a:pt x="1032" y="246"/>
                  </a:cubicBezTo>
                  <a:lnTo>
                    <a:pt x="1032" y="50"/>
                  </a:lnTo>
                  <a:cubicBezTo>
                    <a:pt x="1032" y="22"/>
                    <a:pt x="1010" y="0"/>
                    <a:pt x="982" y="0"/>
                  </a:cubicBezTo>
                  <a:lnTo>
                    <a:pt x="50" y="0"/>
                  </a:lnTo>
                  <a:cubicBezTo>
                    <a:pt x="23" y="0"/>
                    <a:pt x="0" y="22"/>
                    <a:pt x="0" y="50"/>
                  </a:cubicBezTo>
                  <a:lnTo>
                    <a:pt x="0" y="246"/>
                  </a:lnTo>
                  <a:cubicBezTo>
                    <a:pt x="0" y="274"/>
                    <a:pt x="23" y="296"/>
                    <a:pt x="50" y="296"/>
                  </a:cubicBezTo>
                  <a:lnTo>
                    <a:pt x="982" y="296"/>
                  </a:lnTo>
                  <a:lnTo>
                    <a:pt x="982"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100">
              <a:extLst>
                <a:ext uri="{FF2B5EF4-FFF2-40B4-BE49-F238E27FC236}">
                  <a16:creationId xmlns:a16="http://schemas.microsoft.com/office/drawing/2014/main" id="{E394AB4A-411A-49F8-85DD-65751E18631E}"/>
                </a:ext>
              </a:extLst>
            </p:cNvPr>
            <p:cNvSpPr>
              <a:spLocks/>
            </p:cNvSpPr>
            <p:nvPr/>
          </p:nvSpPr>
          <p:spPr bwMode="auto">
            <a:xfrm>
              <a:off x="7729538" y="6626225"/>
              <a:ext cx="155575" cy="42863"/>
            </a:xfrm>
            <a:custGeom>
              <a:avLst/>
              <a:gdLst>
                <a:gd name="T0" fmla="*/ 96 w 98"/>
                <a:gd name="T1" fmla="*/ 25 h 27"/>
                <a:gd name="T2" fmla="*/ 96 w 98"/>
                <a:gd name="T3" fmla="*/ 23 h 27"/>
                <a:gd name="T4" fmla="*/ 5 w 98"/>
                <a:gd name="T5" fmla="*/ 23 h 27"/>
                <a:gd name="T6" fmla="*/ 5 w 98"/>
                <a:gd name="T7" fmla="*/ 4 h 27"/>
                <a:gd name="T8" fmla="*/ 93 w 98"/>
                <a:gd name="T9" fmla="*/ 4 h 27"/>
                <a:gd name="T10" fmla="*/ 93 w 98"/>
                <a:gd name="T11" fmla="*/ 25 h 27"/>
                <a:gd name="T12" fmla="*/ 96 w 98"/>
                <a:gd name="T13" fmla="*/ 25 h 27"/>
                <a:gd name="T14" fmla="*/ 96 w 98"/>
                <a:gd name="T15" fmla="*/ 23 h 27"/>
                <a:gd name="T16" fmla="*/ 96 w 98"/>
                <a:gd name="T17" fmla="*/ 25 h 27"/>
                <a:gd name="T18" fmla="*/ 98 w 98"/>
                <a:gd name="T19" fmla="*/ 25 h 27"/>
                <a:gd name="T20" fmla="*/ 98 w 98"/>
                <a:gd name="T21" fmla="*/ 0 h 27"/>
                <a:gd name="T22" fmla="*/ 0 w 98"/>
                <a:gd name="T23" fmla="*/ 0 h 27"/>
                <a:gd name="T24" fmla="*/ 0 w 98"/>
                <a:gd name="T25" fmla="*/ 27 h 27"/>
                <a:gd name="T26" fmla="*/ 98 w 98"/>
                <a:gd name="T27" fmla="*/ 27 h 27"/>
                <a:gd name="T28" fmla="*/ 98 w 98"/>
                <a:gd name="T29" fmla="*/ 25 h 27"/>
                <a:gd name="T30" fmla="*/ 96 w 98"/>
                <a:gd name="T31"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27">
                  <a:moveTo>
                    <a:pt x="96" y="25"/>
                  </a:moveTo>
                  <a:lnTo>
                    <a:pt x="96" y="23"/>
                  </a:lnTo>
                  <a:lnTo>
                    <a:pt x="5" y="23"/>
                  </a:lnTo>
                  <a:lnTo>
                    <a:pt x="5" y="4"/>
                  </a:lnTo>
                  <a:lnTo>
                    <a:pt x="93" y="4"/>
                  </a:lnTo>
                  <a:lnTo>
                    <a:pt x="93" y="25"/>
                  </a:lnTo>
                  <a:lnTo>
                    <a:pt x="96" y="25"/>
                  </a:lnTo>
                  <a:lnTo>
                    <a:pt x="96" y="23"/>
                  </a:lnTo>
                  <a:lnTo>
                    <a:pt x="96" y="25"/>
                  </a:lnTo>
                  <a:lnTo>
                    <a:pt x="98" y="25"/>
                  </a:lnTo>
                  <a:lnTo>
                    <a:pt x="98" y="0"/>
                  </a:lnTo>
                  <a:lnTo>
                    <a:pt x="0" y="0"/>
                  </a:lnTo>
                  <a:lnTo>
                    <a:pt x="0" y="27"/>
                  </a:lnTo>
                  <a:lnTo>
                    <a:pt x="98" y="27"/>
                  </a:lnTo>
                  <a:lnTo>
                    <a:pt x="98" y="25"/>
                  </a:lnTo>
                  <a:lnTo>
                    <a:pt x="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101">
              <a:extLst>
                <a:ext uri="{FF2B5EF4-FFF2-40B4-BE49-F238E27FC236}">
                  <a16:creationId xmlns:a16="http://schemas.microsoft.com/office/drawing/2014/main" id="{96B9BC57-F703-4C13-8DB6-16553A25A630}"/>
                </a:ext>
              </a:extLst>
            </p:cNvPr>
            <p:cNvSpPr>
              <a:spLocks/>
            </p:cNvSpPr>
            <p:nvPr/>
          </p:nvSpPr>
          <p:spPr bwMode="auto">
            <a:xfrm>
              <a:off x="7729538" y="6473825"/>
              <a:ext cx="155575" cy="158750"/>
            </a:xfrm>
            <a:custGeom>
              <a:avLst/>
              <a:gdLst>
                <a:gd name="T0" fmla="*/ 445 w 755"/>
                <a:gd name="T1" fmla="*/ 17 h 769"/>
                <a:gd name="T2" fmla="*/ 445 w 755"/>
                <a:gd name="T3" fmla="*/ 0 h 769"/>
                <a:gd name="T4" fmla="*/ 310 w 755"/>
                <a:gd name="T5" fmla="*/ 0 h 769"/>
                <a:gd name="T6" fmla="*/ 0 w 755"/>
                <a:gd name="T7" fmla="*/ 309 h 769"/>
                <a:gd name="T8" fmla="*/ 0 w 755"/>
                <a:gd name="T9" fmla="*/ 769 h 769"/>
                <a:gd name="T10" fmla="*/ 755 w 755"/>
                <a:gd name="T11" fmla="*/ 769 h 769"/>
                <a:gd name="T12" fmla="*/ 755 w 755"/>
                <a:gd name="T13" fmla="*/ 309 h 769"/>
                <a:gd name="T14" fmla="*/ 445 w 755"/>
                <a:gd name="T15" fmla="*/ 0 h 769"/>
                <a:gd name="T16" fmla="*/ 445 w 755"/>
                <a:gd name="T17" fmla="*/ 17 h 769"/>
                <a:gd name="T18" fmla="*/ 445 w 755"/>
                <a:gd name="T19" fmla="*/ 33 h 769"/>
                <a:gd name="T20" fmla="*/ 640 w 755"/>
                <a:gd name="T21" fmla="*/ 114 h 769"/>
                <a:gd name="T22" fmla="*/ 721 w 755"/>
                <a:gd name="T23" fmla="*/ 309 h 769"/>
                <a:gd name="T24" fmla="*/ 721 w 755"/>
                <a:gd name="T25" fmla="*/ 736 h 769"/>
                <a:gd name="T26" fmla="*/ 33 w 755"/>
                <a:gd name="T27" fmla="*/ 736 h 769"/>
                <a:gd name="T28" fmla="*/ 33 w 755"/>
                <a:gd name="T29" fmla="*/ 309 h 769"/>
                <a:gd name="T30" fmla="*/ 114 w 755"/>
                <a:gd name="T31" fmla="*/ 114 h 769"/>
                <a:gd name="T32" fmla="*/ 310 w 755"/>
                <a:gd name="T33" fmla="*/ 33 h 769"/>
                <a:gd name="T34" fmla="*/ 445 w 755"/>
                <a:gd name="T35" fmla="*/ 33 h 769"/>
                <a:gd name="T36" fmla="*/ 445 w 755"/>
                <a:gd name="T37" fmla="*/ 17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5" h="769">
                  <a:moveTo>
                    <a:pt x="445" y="17"/>
                  </a:moveTo>
                  <a:lnTo>
                    <a:pt x="445" y="0"/>
                  </a:lnTo>
                  <a:lnTo>
                    <a:pt x="310" y="0"/>
                  </a:lnTo>
                  <a:cubicBezTo>
                    <a:pt x="139" y="0"/>
                    <a:pt x="0" y="139"/>
                    <a:pt x="0" y="309"/>
                  </a:cubicBezTo>
                  <a:lnTo>
                    <a:pt x="0" y="769"/>
                  </a:lnTo>
                  <a:lnTo>
                    <a:pt x="755" y="769"/>
                  </a:lnTo>
                  <a:lnTo>
                    <a:pt x="755" y="309"/>
                  </a:lnTo>
                  <a:cubicBezTo>
                    <a:pt x="755" y="139"/>
                    <a:pt x="616" y="0"/>
                    <a:pt x="445" y="0"/>
                  </a:cubicBezTo>
                  <a:lnTo>
                    <a:pt x="445" y="17"/>
                  </a:lnTo>
                  <a:lnTo>
                    <a:pt x="445" y="33"/>
                  </a:lnTo>
                  <a:cubicBezTo>
                    <a:pt x="521" y="33"/>
                    <a:pt x="590" y="64"/>
                    <a:pt x="640" y="114"/>
                  </a:cubicBezTo>
                  <a:cubicBezTo>
                    <a:pt x="690" y="164"/>
                    <a:pt x="721" y="233"/>
                    <a:pt x="721" y="309"/>
                  </a:cubicBezTo>
                  <a:lnTo>
                    <a:pt x="721" y="736"/>
                  </a:lnTo>
                  <a:lnTo>
                    <a:pt x="33" y="736"/>
                  </a:lnTo>
                  <a:lnTo>
                    <a:pt x="33" y="309"/>
                  </a:lnTo>
                  <a:cubicBezTo>
                    <a:pt x="33" y="233"/>
                    <a:pt x="64" y="164"/>
                    <a:pt x="114" y="114"/>
                  </a:cubicBezTo>
                  <a:cubicBezTo>
                    <a:pt x="164" y="64"/>
                    <a:pt x="233" y="33"/>
                    <a:pt x="310" y="33"/>
                  </a:cubicBezTo>
                  <a:lnTo>
                    <a:pt x="445" y="33"/>
                  </a:lnTo>
                  <a:lnTo>
                    <a:pt x="44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Rectangle 102">
              <a:extLst>
                <a:ext uri="{FF2B5EF4-FFF2-40B4-BE49-F238E27FC236}">
                  <a16:creationId xmlns:a16="http://schemas.microsoft.com/office/drawing/2014/main" id="{4B0460F9-C297-4EFD-B44E-736DDF569F37}"/>
                </a:ext>
              </a:extLst>
            </p:cNvPr>
            <p:cNvSpPr>
              <a:spLocks noChangeArrowheads="1"/>
            </p:cNvSpPr>
            <p:nvPr/>
          </p:nvSpPr>
          <p:spPr bwMode="auto">
            <a:xfrm>
              <a:off x="7804151" y="6592888"/>
              <a:ext cx="6350"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103">
              <a:extLst>
                <a:ext uri="{FF2B5EF4-FFF2-40B4-BE49-F238E27FC236}">
                  <a16:creationId xmlns:a16="http://schemas.microsoft.com/office/drawing/2014/main" id="{34ADC5AC-9B13-44BD-8A31-8C8FC4764DB9}"/>
                </a:ext>
              </a:extLst>
            </p:cNvPr>
            <p:cNvSpPr>
              <a:spLocks/>
            </p:cNvSpPr>
            <p:nvPr/>
          </p:nvSpPr>
          <p:spPr bwMode="auto">
            <a:xfrm>
              <a:off x="7775576" y="6535738"/>
              <a:ext cx="63500" cy="61913"/>
            </a:xfrm>
            <a:custGeom>
              <a:avLst/>
              <a:gdLst>
                <a:gd name="T0" fmla="*/ 292 w 308"/>
                <a:gd name="T1" fmla="*/ 154 h 308"/>
                <a:gd name="T2" fmla="*/ 275 w 308"/>
                <a:gd name="T3" fmla="*/ 154 h 308"/>
                <a:gd name="T4" fmla="*/ 240 w 308"/>
                <a:gd name="T5" fmla="*/ 239 h 308"/>
                <a:gd name="T6" fmla="*/ 154 w 308"/>
                <a:gd name="T7" fmla="*/ 275 h 308"/>
                <a:gd name="T8" fmla="*/ 69 w 308"/>
                <a:gd name="T9" fmla="*/ 239 h 308"/>
                <a:gd name="T10" fmla="*/ 34 w 308"/>
                <a:gd name="T11" fmla="*/ 154 h 308"/>
                <a:gd name="T12" fmla="*/ 69 w 308"/>
                <a:gd name="T13" fmla="*/ 69 h 308"/>
                <a:gd name="T14" fmla="*/ 154 w 308"/>
                <a:gd name="T15" fmla="*/ 33 h 308"/>
                <a:gd name="T16" fmla="*/ 240 w 308"/>
                <a:gd name="T17" fmla="*/ 69 h 308"/>
                <a:gd name="T18" fmla="*/ 275 w 308"/>
                <a:gd name="T19" fmla="*/ 154 h 308"/>
                <a:gd name="T20" fmla="*/ 292 w 308"/>
                <a:gd name="T21" fmla="*/ 154 h 308"/>
                <a:gd name="T22" fmla="*/ 308 w 308"/>
                <a:gd name="T23" fmla="*/ 154 h 308"/>
                <a:gd name="T24" fmla="*/ 154 w 308"/>
                <a:gd name="T25" fmla="*/ 0 h 308"/>
                <a:gd name="T26" fmla="*/ 0 w 308"/>
                <a:gd name="T27" fmla="*/ 154 h 308"/>
                <a:gd name="T28" fmla="*/ 154 w 308"/>
                <a:gd name="T29" fmla="*/ 308 h 308"/>
                <a:gd name="T30" fmla="*/ 308 w 308"/>
                <a:gd name="T31" fmla="*/ 154 h 308"/>
                <a:gd name="T32" fmla="*/ 292 w 308"/>
                <a:gd name="T33" fmla="*/ 15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8" h="308">
                  <a:moveTo>
                    <a:pt x="292" y="154"/>
                  </a:moveTo>
                  <a:lnTo>
                    <a:pt x="275" y="154"/>
                  </a:lnTo>
                  <a:cubicBezTo>
                    <a:pt x="275" y="187"/>
                    <a:pt x="261" y="217"/>
                    <a:pt x="240" y="239"/>
                  </a:cubicBezTo>
                  <a:cubicBezTo>
                    <a:pt x="218" y="261"/>
                    <a:pt x="188" y="275"/>
                    <a:pt x="154" y="275"/>
                  </a:cubicBezTo>
                  <a:cubicBezTo>
                    <a:pt x="121" y="275"/>
                    <a:pt x="91" y="261"/>
                    <a:pt x="69" y="239"/>
                  </a:cubicBezTo>
                  <a:cubicBezTo>
                    <a:pt x="47" y="217"/>
                    <a:pt x="34" y="187"/>
                    <a:pt x="34" y="154"/>
                  </a:cubicBezTo>
                  <a:cubicBezTo>
                    <a:pt x="34" y="121"/>
                    <a:pt x="47" y="91"/>
                    <a:pt x="69" y="69"/>
                  </a:cubicBezTo>
                  <a:cubicBezTo>
                    <a:pt x="91" y="47"/>
                    <a:pt x="121" y="33"/>
                    <a:pt x="154" y="33"/>
                  </a:cubicBezTo>
                  <a:cubicBezTo>
                    <a:pt x="188" y="33"/>
                    <a:pt x="218" y="47"/>
                    <a:pt x="240" y="69"/>
                  </a:cubicBezTo>
                  <a:cubicBezTo>
                    <a:pt x="261" y="91"/>
                    <a:pt x="275" y="121"/>
                    <a:pt x="275" y="154"/>
                  </a:cubicBezTo>
                  <a:lnTo>
                    <a:pt x="292" y="154"/>
                  </a:lnTo>
                  <a:lnTo>
                    <a:pt x="308" y="154"/>
                  </a:lnTo>
                  <a:cubicBezTo>
                    <a:pt x="308" y="69"/>
                    <a:pt x="239" y="0"/>
                    <a:pt x="154" y="0"/>
                  </a:cubicBezTo>
                  <a:cubicBezTo>
                    <a:pt x="69" y="0"/>
                    <a:pt x="0" y="69"/>
                    <a:pt x="0" y="154"/>
                  </a:cubicBezTo>
                  <a:cubicBezTo>
                    <a:pt x="0" y="239"/>
                    <a:pt x="69" y="308"/>
                    <a:pt x="154" y="308"/>
                  </a:cubicBezTo>
                  <a:cubicBezTo>
                    <a:pt x="239" y="308"/>
                    <a:pt x="308" y="239"/>
                    <a:pt x="308" y="154"/>
                  </a:cubicBezTo>
                  <a:lnTo>
                    <a:pt x="292"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104">
              <a:extLst>
                <a:ext uri="{FF2B5EF4-FFF2-40B4-BE49-F238E27FC236}">
                  <a16:creationId xmlns:a16="http://schemas.microsoft.com/office/drawing/2014/main" id="{0D69D26A-66CE-42A6-8A75-02D50BC02B83}"/>
                </a:ext>
              </a:extLst>
            </p:cNvPr>
            <p:cNvSpPr>
              <a:spLocks/>
            </p:cNvSpPr>
            <p:nvPr/>
          </p:nvSpPr>
          <p:spPr bwMode="auto">
            <a:xfrm>
              <a:off x="7791451" y="6550025"/>
              <a:ext cx="31750" cy="33338"/>
            </a:xfrm>
            <a:custGeom>
              <a:avLst/>
              <a:gdLst>
                <a:gd name="T0" fmla="*/ 144 w 160"/>
                <a:gd name="T1" fmla="*/ 80 h 160"/>
                <a:gd name="T2" fmla="*/ 127 w 160"/>
                <a:gd name="T3" fmla="*/ 80 h 160"/>
                <a:gd name="T4" fmla="*/ 80 w 160"/>
                <a:gd name="T5" fmla="*/ 127 h 160"/>
                <a:gd name="T6" fmla="*/ 34 w 160"/>
                <a:gd name="T7" fmla="*/ 80 h 160"/>
                <a:gd name="T8" fmla="*/ 80 w 160"/>
                <a:gd name="T9" fmla="*/ 33 h 160"/>
                <a:gd name="T10" fmla="*/ 127 w 160"/>
                <a:gd name="T11" fmla="*/ 80 h 160"/>
                <a:gd name="T12" fmla="*/ 144 w 160"/>
                <a:gd name="T13" fmla="*/ 80 h 160"/>
                <a:gd name="T14" fmla="*/ 160 w 160"/>
                <a:gd name="T15" fmla="*/ 80 h 160"/>
                <a:gd name="T16" fmla="*/ 80 w 160"/>
                <a:gd name="T17" fmla="*/ 0 h 160"/>
                <a:gd name="T18" fmla="*/ 0 w 160"/>
                <a:gd name="T19" fmla="*/ 80 h 160"/>
                <a:gd name="T20" fmla="*/ 80 w 160"/>
                <a:gd name="T21" fmla="*/ 160 h 160"/>
                <a:gd name="T22" fmla="*/ 160 w 160"/>
                <a:gd name="T23" fmla="*/ 80 h 160"/>
                <a:gd name="T24" fmla="*/ 144 w 160"/>
                <a:gd name="T2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0">
                  <a:moveTo>
                    <a:pt x="144" y="80"/>
                  </a:moveTo>
                  <a:lnTo>
                    <a:pt x="127" y="80"/>
                  </a:lnTo>
                  <a:cubicBezTo>
                    <a:pt x="127" y="106"/>
                    <a:pt x="106" y="127"/>
                    <a:pt x="80" y="127"/>
                  </a:cubicBezTo>
                  <a:cubicBezTo>
                    <a:pt x="55" y="127"/>
                    <a:pt x="34" y="106"/>
                    <a:pt x="34" y="80"/>
                  </a:cubicBezTo>
                  <a:cubicBezTo>
                    <a:pt x="34" y="54"/>
                    <a:pt x="55" y="33"/>
                    <a:pt x="80" y="33"/>
                  </a:cubicBezTo>
                  <a:cubicBezTo>
                    <a:pt x="106" y="33"/>
                    <a:pt x="127" y="54"/>
                    <a:pt x="127" y="80"/>
                  </a:cubicBezTo>
                  <a:lnTo>
                    <a:pt x="144" y="80"/>
                  </a:lnTo>
                  <a:lnTo>
                    <a:pt x="160" y="80"/>
                  </a:lnTo>
                  <a:cubicBezTo>
                    <a:pt x="160" y="36"/>
                    <a:pt x="125" y="0"/>
                    <a:pt x="80" y="0"/>
                  </a:cubicBezTo>
                  <a:cubicBezTo>
                    <a:pt x="36" y="0"/>
                    <a:pt x="0" y="36"/>
                    <a:pt x="0" y="80"/>
                  </a:cubicBezTo>
                  <a:cubicBezTo>
                    <a:pt x="0" y="124"/>
                    <a:pt x="36" y="160"/>
                    <a:pt x="80" y="160"/>
                  </a:cubicBezTo>
                  <a:cubicBezTo>
                    <a:pt x="125" y="160"/>
                    <a:pt x="160" y="124"/>
                    <a:pt x="160" y="80"/>
                  </a:cubicBezTo>
                  <a:lnTo>
                    <a:pt x="14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Rectangle 105">
              <a:extLst>
                <a:ext uri="{FF2B5EF4-FFF2-40B4-BE49-F238E27FC236}">
                  <a16:creationId xmlns:a16="http://schemas.microsoft.com/office/drawing/2014/main" id="{34D2CB8C-1A83-4FCE-A4FB-CC36771B6B60}"/>
                </a:ext>
              </a:extLst>
            </p:cNvPr>
            <p:cNvSpPr>
              <a:spLocks noChangeArrowheads="1"/>
            </p:cNvSpPr>
            <p:nvPr/>
          </p:nvSpPr>
          <p:spPr bwMode="auto">
            <a:xfrm>
              <a:off x="7804151" y="6435725"/>
              <a:ext cx="63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106">
              <a:extLst>
                <a:ext uri="{FF2B5EF4-FFF2-40B4-BE49-F238E27FC236}">
                  <a16:creationId xmlns:a16="http://schemas.microsoft.com/office/drawing/2014/main" id="{FA00C2D8-8408-4BF8-A51B-E74724BFEC35}"/>
                </a:ext>
              </a:extLst>
            </p:cNvPr>
            <p:cNvSpPr>
              <a:spLocks/>
            </p:cNvSpPr>
            <p:nvPr/>
          </p:nvSpPr>
          <p:spPr bwMode="auto">
            <a:xfrm>
              <a:off x="7727951" y="6457950"/>
              <a:ext cx="22225" cy="28575"/>
            </a:xfrm>
            <a:custGeom>
              <a:avLst/>
              <a:gdLst>
                <a:gd name="T0" fmla="*/ 110 w 110"/>
                <a:gd name="T1" fmla="*/ 116 h 135"/>
                <a:gd name="T2" fmla="*/ 27 w 110"/>
                <a:gd name="T3" fmla="*/ 0 h 135"/>
                <a:gd name="T4" fmla="*/ 0 w 110"/>
                <a:gd name="T5" fmla="*/ 20 h 135"/>
                <a:gd name="T6" fmla="*/ 83 w 110"/>
                <a:gd name="T7" fmla="*/ 135 h 135"/>
              </a:gdLst>
              <a:ahLst/>
              <a:cxnLst>
                <a:cxn ang="0">
                  <a:pos x="T0" y="T1"/>
                </a:cxn>
                <a:cxn ang="0">
                  <a:pos x="T2" y="T3"/>
                </a:cxn>
                <a:cxn ang="0">
                  <a:pos x="T4" y="T5"/>
                </a:cxn>
                <a:cxn ang="0">
                  <a:pos x="T6" y="T7"/>
                </a:cxn>
              </a:cxnLst>
              <a:rect l="0" t="0" r="r" b="b"/>
              <a:pathLst>
                <a:path w="110" h="135">
                  <a:moveTo>
                    <a:pt x="110" y="116"/>
                  </a:moveTo>
                  <a:lnTo>
                    <a:pt x="27" y="0"/>
                  </a:lnTo>
                  <a:lnTo>
                    <a:pt x="0" y="20"/>
                  </a:lnTo>
                  <a:lnTo>
                    <a:pt x="83" y="13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107">
              <a:extLst>
                <a:ext uri="{FF2B5EF4-FFF2-40B4-BE49-F238E27FC236}">
                  <a16:creationId xmlns:a16="http://schemas.microsoft.com/office/drawing/2014/main" id="{E3A35EE7-840D-4CF4-BE80-6E20C7F79EC4}"/>
                </a:ext>
              </a:extLst>
            </p:cNvPr>
            <p:cNvSpPr>
              <a:spLocks/>
            </p:cNvSpPr>
            <p:nvPr/>
          </p:nvSpPr>
          <p:spPr bwMode="auto">
            <a:xfrm>
              <a:off x="7680326" y="6523038"/>
              <a:ext cx="30163" cy="15875"/>
            </a:xfrm>
            <a:custGeom>
              <a:avLst/>
              <a:gdLst>
                <a:gd name="T0" fmla="*/ 146 w 146"/>
                <a:gd name="T1" fmla="*/ 44 h 76"/>
                <a:gd name="T2" fmla="*/ 10 w 146"/>
                <a:gd name="T3" fmla="*/ 0 h 76"/>
                <a:gd name="T4" fmla="*/ 0 w 146"/>
                <a:gd name="T5" fmla="*/ 32 h 76"/>
                <a:gd name="T6" fmla="*/ 136 w 146"/>
                <a:gd name="T7" fmla="*/ 76 h 76"/>
              </a:gdLst>
              <a:ahLst/>
              <a:cxnLst>
                <a:cxn ang="0">
                  <a:pos x="T0" y="T1"/>
                </a:cxn>
                <a:cxn ang="0">
                  <a:pos x="T2" y="T3"/>
                </a:cxn>
                <a:cxn ang="0">
                  <a:pos x="T4" y="T5"/>
                </a:cxn>
                <a:cxn ang="0">
                  <a:pos x="T6" y="T7"/>
                </a:cxn>
              </a:cxnLst>
              <a:rect l="0" t="0" r="r" b="b"/>
              <a:pathLst>
                <a:path w="146" h="76">
                  <a:moveTo>
                    <a:pt x="146" y="44"/>
                  </a:moveTo>
                  <a:lnTo>
                    <a:pt x="10" y="0"/>
                  </a:lnTo>
                  <a:lnTo>
                    <a:pt x="0" y="32"/>
                  </a:lnTo>
                  <a:lnTo>
                    <a:pt x="136" y="7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108">
              <a:extLst>
                <a:ext uri="{FF2B5EF4-FFF2-40B4-BE49-F238E27FC236}">
                  <a16:creationId xmlns:a16="http://schemas.microsoft.com/office/drawing/2014/main" id="{5D75AD21-632E-41C1-9E5B-6DE7CADA8585}"/>
                </a:ext>
              </a:extLst>
            </p:cNvPr>
            <p:cNvSpPr>
              <a:spLocks/>
            </p:cNvSpPr>
            <p:nvPr/>
          </p:nvSpPr>
          <p:spPr bwMode="auto">
            <a:xfrm>
              <a:off x="7680326" y="6594475"/>
              <a:ext cx="30163" cy="15875"/>
            </a:xfrm>
            <a:custGeom>
              <a:avLst/>
              <a:gdLst>
                <a:gd name="T0" fmla="*/ 136 w 146"/>
                <a:gd name="T1" fmla="*/ 0 h 76"/>
                <a:gd name="T2" fmla="*/ 0 w 146"/>
                <a:gd name="T3" fmla="*/ 44 h 76"/>
                <a:gd name="T4" fmla="*/ 10 w 146"/>
                <a:gd name="T5" fmla="*/ 76 h 76"/>
                <a:gd name="T6" fmla="*/ 146 w 146"/>
                <a:gd name="T7" fmla="*/ 32 h 76"/>
              </a:gdLst>
              <a:ahLst/>
              <a:cxnLst>
                <a:cxn ang="0">
                  <a:pos x="T0" y="T1"/>
                </a:cxn>
                <a:cxn ang="0">
                  <a:pos x="T2" y="T3"/>
                </a:cxn>
                <a:cxn ang="0">
                  <a:pos x="T4" y="T5"/>
                </a:cxn>
                <a:cxn ang="0">
                  <a:pos x="T6" y="T7"/>
                </a:cxn>
              </a:cxnLst>
              <a:rect l="0" t="0" r="r" b="b"/>
              <a:pathLst>
                <a:path w="146" h="76">
                  <a:moveTo>
                    <a:pt x="136" y="0"/>
                  </a:moveTo>
                  <a:lnTo>
                    <a:pt x="0" y="44"/>
                  </a:lnTo>
                  <a:lnTo>
                    <a:pt x="10" y="76"/>
                  </a:lnTo>
                  <a:lnTo>
                    <a:pt x="146" y="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109">
              <a:extLst>
                <a:ext uri="{FF2B5EF4-FFF2-40B4-BE49-F238E27FC236}">
                  <a16:creationId xmlns:a16="http://schemas.microsoft.com/office/drawing/2014/main" id="{A553428E-44AD-4B81-B0CF-1320D6D3EAC8}"/>
                </a:ext>
              </a:extLst>
            </p:cNvPr>
            <p:cNvSpPr>
              <a:spLocks/>
            </p:cNvSpPr>
            <p:nvPr/>
          </p:nvSpPr>
          <p:spPr bwMode="auto">
            <a:xfrm>
              <a:off x="7904163" y="6594475"/>
              <a:ext cx="30163" cy="15875"/>
            </a:xfrm>
            <a:custGeom>
              <a:avLst/>
              <a:gdLst>
                <a:gd name="T0" fmla="*/ 0 w 146"/>
                <a:gd name="T1" fmla="*/ 32 h 76"/>
                <a:gd name="T2" fmla="*/ 135 w 146"/>
                <a:gd name="T3" fmla="*/ 76 h 76"/>
                <a:gd name="T4" fmla="*/ 146 w 146"/>
                <a:gd name="T5" fmla="*/ 44 h 76"/>
                <a:gd name="T6" fmla="*/ 10 w 146"/>
                <a:gd name="T7" fmla="*/ 0 h 76"/>
              </a:gdLst>
              <a:ahLst/>
              <a:cxnLst>
                <a:cxn ang="0">
                  <a:pos x="T0" y="T1"/>
                </a:cxn>
                <a:cxn ang="0">
                  <a:pos x="T2" y="T3"/>
                </a:cxn>
                <a:cxn ang="0">
                  <a:pos x="T4" y="T5"/>
                </a:cxn>
                <a:cxn ang="0">
                  <a:pos x="T6" y="T7"/>
                </a:cxn>
              </a:cxnLst>
              <a:rect l="0" t="0" r="r" b="b"/>
              <a:pathLst>
                <a:path w="146" h="76">
                  <a:moveTo>
                    <a:pt x="0" y="32"/>
                  </a:moveTo>
                  <a:lnTo>
                    <a:pt x="135" y="76"/>
                  </a:lnTo>
                  <a:lnTo>
                    <a:pt x="146" y="44"/>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110">
              <a:extLst>
                <a:ext uri="{FF2B5EF4-FFF2-40B4-BE49-F238E27FC236}">
                  <a16:creationId xmlns:a16="http://schemas.microsoft.com/office/drawing/2014/main" id="{C394408D-273F-457C-BAB0-01237128AECB}"/>
                </a:ext>
              </a:extLst>
            </p:cNvPr>
            <p:cNvSpPr>
              <a:spLocks/>
            </p:cNvSpPr>
            <p:nvPr/>
          </p:nvSpPr>
          <p:spPr bwMode="auto">
            <a:xfrm>
              <a:off x="7904163" y="6523038"/>
              <a:ext cx="30163" cy="15875"/>
            </a:xfrm>
            <a:custGeom>
              <a:avLst/>
              <a:gdLst>
                <a:gd name="T0" fmla="*/ 10 w 146"/>
                <a:gd name="T1" fmla="*/ 76 h 76"/>
                <a:gd name="T2" fmla="*/ 146 w 146"/>
                <a:gd name="T3" fmla="*/ 32 h 76"/>
                <a:gd name="T4" fmla="*/ 135 w 146"/>
                <a:gd name="T5" fmla="*/ 0 h 76"/>
                <a:gd name="T6" fmla="*/ 0 w 146"/>
                <a:gd name="T7" fmla="*/ 44 h 76"/>
              </a:gdLst>
              <a:ahLst/>
              <a:cxnLst>
                <a:cxn ang="0">
                  <a:pos x="T0" y="T1"/>
                </a:cxn>
                <a:cxn ang="0">
                  <a:pos x="T2" y="T3"/>
                </a:cxn>
                <a:cxn ang="0">
                  <a:pos x="T4" y="T5"/>
                </a:cxn>
                <a:cxn ang="0">
                  <a:pos x="T6" y="T7"/>
                </a:cxn>
              </a:cxnLst>
              <a:rect l="0" t="0" r="r" b="b"/>
              <a:pathLst>
                <a:path w="146" h="76">
                  <a:moveTo>
                    <a:pt x="10" y="76"/>
                  </a:moveTo>
                  <a:lnTo>
                    <a:pt x="146" y="32"/>
                  </a:lnTo>
                  <a:lnTo>
                    <a:pt x="135" y="0"/>
                  </a:lnTo>
                  <a:lnTo>
                    <a:pt x="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11">
              <a:extLst>
                <a:ext uri="{FF2B5EF4-FFF2-40B4-BE49-F238E27FC236}">
                  <a16:creationId xmlns:a16="http://schemas.microsoft.com/office/drawing/2014/main" id="{2F5B3C7B-A1D3-4F28-86F2-4191502D90B9}"/>
                </a:ext>
              </a:extLst>
            </p:cNvPr>
            <p:cNvSpPr>
              <a:spLocks/>
            </p:cNvSpPr>
            <p:nvPr/>
          </p:nvSpPr>
          <p:spPr bwMode="auto">
            <a:xfrm>
              <a:off x="7864476" y="6457950"/>
              <a:ext cx="23813" cy="28575"/>
            </a:xfrm>
            <a:custGeom>
              <a:avLst/>
              <a:gdLst>
                <a:gd name="T0" fmla="*/ 27 w 111"/>
                <a:gd name="T1" fmla="*/ 135 h 135"/>
                <a:gd name="T2" fmla="*/ 111 w 111"/>
                <a:gd name="T3" fmla="*/ 20 h 135"/>
                <a:gd name="T4" fmla="*/ 84 w 111"/>
                <a:gd name="T5" fmla="*/ 0 h 135"/>
                <a:gd name="T6" fmla="*/ 0 w 111"/>
                <a:gd name="T7" fmla="*/ 116 h 135"/>
              </a:gdLst>
              <a:ahLst/>
              <a:cxnLst>
                <a:cxn ang="0">
                  <a:pos x="T0" y="T1"/>
                </a:cxn>
                <a:cxn ang="0">
                  <a:pos x="T2" y="T3"/>
                </a:cxn>
                <a:cxn ang="0">
                  <a:pos x="T4" y="T5"/>
                </a:cxn>
                <a:cxn ang="0">
                  <a:pos x="T6" y="T7"/>
                </a:cxn>
              </a:cxnLst>
              <a:rect l="0" t="0" r="r" b="b"/>
              <a:pathLst>
                <a:path w="111" h="135">
                  <a:moveTo>
                    <a:pt x="27" y="135"/>
                  </a:moveTo>
                  <a:lnTo>
                    <a:pt x="111" y="20"/>
                  </a:lnTo>
                  <a:lnTo>
                    <a:pt x="84" y="0"/>
                  </a:lnTo>
                  <a:lnTo>
                    <a:pt x="0" y="1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Rectangle 112">
              <a:extLst>
                <a:ext uri="{FF2B5EF4-FFF2-40B4-BE49-F238E27FC236}">
                  <a16:creationId xmlns:a16="http://schemas.microsoft.com/office/drawing/2014/main" id="{EE3BBC5A-800A-4A6C-8E47-78C79336ABF6}"/>
                </a:ext>
              </a:extLst>
            </p:cNvPr>
            <p:cNvSpPr>
              <a:spLocks noChangeArrowheads="1"/>
            </p:cNvSpPr>
            <p:nvPr/>
          </p:nvSpPr>
          <p:spPr bwMode="auto">
            <a:xfrm>
              <a:off x="7764463" y="6677025"/>
              <a:ext cx="873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2" name="TextBox 171">
            <a:extLst>
              <a:ext uri="{FF2B5EF4-FFF2-40B4-BE49-F238E27FC236}">
                <a16:creationId xmlns:a16="http://schemas.microsoft.com/office/drawing/2014/main" id="{5F47367C-A83D-4711-B24A-FBA79398CD83}"/>
              </a:ext>
            </a:extLst>
          </p:cNvPr>
          <p:cNvSpPr txBox="1"/>
          <p:nvPr/>
        </p:nvSpPr>
        <p:spPr>
          <a:xfrm>
            <a:off x="986720" y="2408224"/>
            <a:ext cx="5373416" cy="2646878"/>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ế</a:t>
            </a:r>
            <a:r>
              <a:rPr kumimoji="0" lang="en-US" sz="2000" b="1" i="0" u="none" strike="noStrike" kern="0" cap="none" spc="0" normalizeH="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ch</a:t>
            </a:r>
            <a:r>
              <a:rPr kumimoji="0" lang="en-US" sz="2000" b="1"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2021-2025:</a:t>
            </a:r>
            <a:endParaRPr kumimoji="0" lang="en-US" sz="2000"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â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ỷ</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ệ</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ữ</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a:solidFill>
                  <a:schemeClr val="accent1"/>
                </a:solidFill>
                <a:latin typeface="Times New Roman" panose="02020603050405020304" pitchFamily="18" charset="0"/>
                <a:cs typeface="Times New Roman" panose="02020603050405020304" pitchFamily="18" charset="0"/>
              </a:rPr>
              <a:t>CBCNVLĐ</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ro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giai</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oạn</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2021-2025 </a:t>
            </a:r>
            <a:r>
              <a:rPr lang="en-US" kern="0" dirty="0" err="1">
                <a:solidFill>
                  <a:schemeClr val="accent1"/>
                </a:solidFill>
                <a:latin typeface="Times New Roman" panose="02020603050405020304" pitchFamily="18" charset="0"/>
                <a:cs typeface="Times New Roman" panose="02020603050405020304" pitchFamily="18" charset="0"/>
              </a:rPr>
              <a:t>th</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êm</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ít</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nhất</a:t>
            </a:r>
            <a:r>
              <a:rPr lang="en-US" kern="0" dirty="0">
                <a:solidFill>
                  <a:schemeClr val="accent1"/>
                </a:solidFill>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2%.</a:t>
            </a:r>
          </a:p>
          <a:p>
            <a:pPr marL="342900" indent="-342900" algn="just">
              <a:buFont typeface="Wingdings" panose="05000000000000000000" pitchFamily="2" charset="2"/>
              <a:buChar char="ü"/>
              <a:defRPr/>
            </a:pP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Xây</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dự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ỷ</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ệ</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quy</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ch</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à</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bổ</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hiệm</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cán</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bộ</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tại</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các</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đơn</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vị</a:t>
            </a:r>
            <a:r>
              <a:rPr lang="en-US" kern="0" dirty="0">
                <a:solidFill>
                  <a:schemeClr val="accent1"/>
                </a:solidFill>
                <a:latin typeface="Times New Roman" panose="02020603050405020304" pitchFamily="18" charset="0"/>
                <a:cs typeface="Times New Roman" panose="02020603050405020304" pitchFamily="18" charset="0"/>
              </a:rPr>
              <a:t>.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riển</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hai</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hêm</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ác</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ươ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rình</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ào</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ạo</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uyên</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môn</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à</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ươ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rình</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ố</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ấn</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ữ</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a:solidFill>
                  <a:schemeClr val="accent1"/>
                </a:solidFill>
                <a:latin typeface="Times New Roman" panose="02020603050405020304" pitchFamily="18" charset="0"/>
                <a:cs typeface="Times New Roman" panose="02020603050405020304" pitchFamily="18" charset="0"/>
              </a:rPr>
              <a:t>CBCNVLĐ</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kern="0" dirty="0">
                <a:solidFill>
                  <a:schemeClr val="accent1"/>
                </a:solidFill>
                <a:latin typeface="Times New Roman" panose="02020603050405020304" pitchFamily="18" charset="0"/>
                <a:cs typeface="Times New Roman" panose="02020603050405020304" pitchFamily="18" charset="0"/>
              </a:rPr>
              <a:t>T</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ử</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ghiệm</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ịch</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àm</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iệc</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inh</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t</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ại</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EVNGENCO 3, </a:t>
            </a:r>
            <a:r>
              <a:rPr lang="en-US" kern="0" dirty="0" err="1">
                <a:solidFill>
                  <a:schemeClr val="accent1"/>
                </a:solidFill>
                <a:latin typeface="Times New Roman" panose="02020603050405020304" pitchFamily="18" charset="0"/>
                <a:cs typeface="Times New Roman" panose="02020603050405020304" pitchFamily="18" charset="0"/>
              </a:rPr>
              <a:t>đánh</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giá</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à</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sau</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đó</a:t>
            </a:r>
            <a:r>
              <a:rPr lang="en-US" kern="0" dirty="0">
                <a:solidFill>
                  <a:schemeClr val="accent1"/>
                </a:solidFill>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áp</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dụ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rộng</a:t>
            </a:r>
            <a:r>
              <a:rPr kumimoji="0" lang="en-US"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rãi</a:t>
            </a:r>
            <a:r>
              <a:rPr kumimoji="0" lang="en-US" sz="2000" b="0"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a:t>
            </a:r>
          </a:p>
        </p:txBody>
      </p:sp>
      <p:sp>
        <p:nvSpPr>
          <p:cNvPr id="173" name="TextBox 172">
            <a:extLst>
              <a:ext uri="{FF2B5EF4-FFF2-40B4-BE49-F238E27FC236}">
                <a16:creationId xmlns:a16="http://schemas.microsoft.com/office/drawing/2014/main" id="{9C51D293-AA8D-4AB1-B276-AC4C122E9571}"/>
              </a:ext>
            </a:extLst>
          </p:cNvPr>
          <p:cNvSpPr txBox="1"/>
          <p:nvPr/>
        </p:nvSpPr>
        <p:spPr>
          <a:xfrm>
            <a:off x="6486793" y="2408225"/>
            <a:ext cx="4933681" cy="2646878"/>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ác</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lợi</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ích</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dự</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kiến</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mang</a:t>
            </a:r>
            <a:r>
              <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1"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lại</a:t>
            </a:r>
            <a:endParaRPr kumimoji="0" lang="en-US" sz="2000" b="1"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Cơ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hội</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để</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lang="en-US" kern="0" dirty="0">
                <a:solidFill>
                  <a:schemeClr val="accent2"/>
                </a:solidFill>
                <a:latin typeface="Times New Roman" panose="02020603050405020304" pitchFamily="18" charset="0"/>
                <a:cs typeface="Times New Roman" panose="02020603050405020304" pitchFamily="18" charset="0"/>
              </a:rPr>
              <a:t>CBCNVLĐ</a:t>
            </a:r>
            <a:r>
              <a:rPr lang="en-US" kern="0" dirty="0">
                <a:solidFill>
                  <a:schemeClr val="accent1"/>
                </a:solidFill>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đóng</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góp</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hêm</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ho</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EVN,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ó</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hể</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ạnh</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ranh</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ác</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vị</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rí</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rong</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lĩnh</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vực</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kỹ</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huật</a:t>
            </a:r>
            <a:r>
              <a:rPr lang="en-US" kern="0" dirty="0">
                <a:solidFill>
                  <a:schemeClr val="accent2"/>
                </a:solidFill>
                <a:latin typeface="Times New Roman" panose="02020603050405020304" pitchFamily="18" charset="0"/>
                <a:cs typeface="Times New Roman" panose="02020603050405020304" pitchFamily="18" charset="0"/>
              </a:rPr>
              <a:t>,</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ăng</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năng</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suất</a:t>
            </a:r>
            <a:r>
              <a:rPr lang="en-US" kern="0" dirty="0">
                <a:solidFill>
                  <a:schemeClr val="accent2"/>
                </a:solidFill>
                <a:latin typeface="Times New Roman" panose="02020603050405020304" pitchFamily="18" charset="0"/>
                <a:cs typeface="Times New Roman" panose="02020603050405020304" pitchFamily="18" charset="0"/>
              </a:rPr>
              <a:t> lao </a:t>
            </a:r>
            <a:r>
              <a:rPr lang="en-US" kern="0" dirty="0" err="1">
                <a:solidFill>
                  <a:schemeClr val="accent2"/>
                </a:solidFill>
                <a:latin typeface="Times New Roman" panose="02020603050405020304" pitchFamily="18" charset="0"/>
                <a:cs typeface="Times New Roman" panose="02020603050405020304" pitchFamily="18" charset="0"/>
              </a:rPr>
              <a:t>động</a:t>
            </a:r>
            <a:r>
              <a:rPr lang="en-US" kern="0" dirty="0">
                <a:solidFill>
                  <a:schemeClr val="accent2"/>
                </a:solidFill>
                <a:latin typeface="Times New Roman" panose="02020603050405020304" pitchFamily="18" charset="0"/>
                <a:cs typeface="Times New Roman" panose="02020603050405020304" pitchFamily="18" charset="0"/>
              </a:rPr>
              <a:t>.</a:t>
            </a:r>
            <a:endPar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EVN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sẽ</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hưởng</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lợi</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khi</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ó</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thêm</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ác</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hương</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trình</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giáo</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dục</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đào</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tạo</a:t>
            </a:r>
            <a:r>
              <a:rPr lang="en-US" kern="0" dirty="0">
                <a:solidFill>
                  <a:schemeClr val="accent2"/>
                </a:solidFill>
                <a:latin typeface="Times New Roman" panose="02020603050405020304" pitchFamily="18" charset="0"/>
                <a:cs typeface="Times New Roman" panose="02020603050405020304" pitchFamily="18" charset="0"/>
              </a:rPr>
              <a:t>.</a:t>
            </a:r>
            <a:endPar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Việ</a:t>
            </a:r>
            <a:r>
              <a:rPr lang="en-US" kern="0" dirty="0">
                <a:solidFill>
                  <a:schemeClr val="accent2"/>
                </a:solidFill>
                <a:latin typeface="Times New Roman" panose="02020603050405020304" pitchFamily="18" charset="0"/>
                <a:cs typeface="Times New Roman" panose="02020603050405020304" pitchFamily="18" charset="0"/>
              </a:rPr>
              <a:t>c </a:t>
            </a:r>
            <a:r>
              <a:rPr lang="en-US" kern="0" dirty="0" err="1">
                <a:solidFill>
                  <a:schemeClr val="accent2"/>
                </a:solidFill>
                <a:latin typeface="Times New Roman" panose="02020603050405020304" pitchFamily="18" charset="0"/>
                <a:cs typeface="Times New Roman" panose="02020603050405020304" pitchFamily="18" charset="0"/>
              </a:rPr>
              <a:t>ra</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quyết</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định</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sẽ</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tốt</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hơn</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với</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ách</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nhìn</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đa</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hiều</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hơn</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hiệu</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quả</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ao</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hơn</a:t>
            </a:r>
            <a:r>
              <a:rPr lang="en-US" kern="0" dirty="0">
                <a:solidFill>
                  <a:schemeClr val="accent2"/>
                </a:solidFill>
                <a:latin typeface="Times New Roman" panose="02020603050405020304" pitchFamily="18" charset="0"/>
                <a:cs typeface="Times New Roman" panose="02020603050405020304" pitchFamily="18" charset="0"/>
              </a:rPr>
              <a:t> </a:t>
            </a:r>
            <a:r>
              <a:rPr lang="en-US" kern="0" dirty="0" err="1">
                <a:solidFill>
                  <a:schemeClr val="accent2"/>
                </a:solidFill>
                <a:latin typeface="Times New Roman" panose="02020603050405020304" pitchFamily="18" charset="0"/>
                <a:cs typeface="Times New Roman" panose="02020603050405020304" pitchFamily="18" charset="0"/>
              </a:rPr>
              <a:t>cho</a:t>
            </a:r>
            <a:r>
              <a:rPr lang="en-US" kern="0" dirty="0">
                <a:solidFill>
                  <a:schemeClr val="accent2"/>
                </a:solidFill>
                <a:latin typeface="Times New Roman" panose="02020603050405020304" pitchFamily="18" charset="0"/>
                <a:cs typeface="Times New Roman" panose="02020603050405020304" pitchFamily="18" charset="0"/>
              </a:rPr>
              <a:t> </a:t>
            </a:r>
            <a:r>
              <a:rPr kumimoji="0" lang="en-US"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EVN. </a:t>
            </a:r>
          </a:p>
        </p:txBody>
      </p:sp>
      <p:cxnSp>
        <p:nvCxnSpPr>
          <p:cNvPr id="175" name="Straight Connector 174">
            <a:extLst>
              <a:ext uri="{FF2B5EF4-FFF2-40B4-BE49-F238E27FC236}">
                <a16:creationId xmlns:a16="http://schemas.microsoft.com/office/drawing/2014/main" id="{A7A38CC0-D689-4E74-8A91-6184F6D512D4}"/>
              </a:ext>
            </a:extLst>
          </p:cNvPr>
          <p:cNvCxnSpPr>
            <a:cxnSpLocks/>
          </p:cNvCxnSpPr>
          <p:nvPr/>
        </p:nvCxnSpPr>
        <p:spPr>
          <a:xfrm>
            <a:off x="6486794" y="2514229"/>
            <a:ext cx="0" cy="417076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757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2" y="383581"/>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GIẢI PHÁP CỤ THỂ </a:t>
            </a:r>
          </a:p>
        </p:txBody>
      </p:sp>
      <p:sp>
        <p:nvSpPr>
          <p:cNvPr id="73" name="Google Shape;697;p31">
            <a:extLst>
              <a:ext uri="{FF2B5EF4-FFF2-40B4-BE49-F238E27FC236}">
                <a16:creationId xmlns:a16="http://schemas.microsoft.com/office/drawing/2014/main" id="{41C6CBA7-5017-4A2A-B7EF-FB3A879AF08C}"/>
              </a:ext>
            </a:extLst>
          </p:cNvPr>
          <p:cNvSpPr/>
          <p:nvPr/>
        </p:nvSpPr>
        <p:spPr>
          <a:xfrm rot="16200000" flipH="1">
            <a:off x="2961361" y="-296188"/>
            <a:ext cx="1227633" cy="5050803"/>
          </a:xfrm>
          <a:prstGeom prst="round2SameRect">
            <a:avLst>
              <a:gd name="adj1" fmla="val 26957"/>
              <a:gd name="adj2" fmla="val 0"/>
            </a:avLst>
          </a:prstGeom>
          <a:solidFill>
            <a:srgbClr val="FAB84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74" name="Google Shape;698;p31">
            <a:extLst>
              <a:ext uri="{FF2B5EF4-FFF2-40B4-BE49-F238E27FC236}">
                <a16:creationId xmlns:a16="http://schemas.microsoft.com/office/drawing/2014/main" id="{0AE98A51-789B-4738-8DDD-DB4A09C9099B}"/>
              </a:ext>
            </a:extLst>
          </p:cNvPr>
          <p:cNvSpPr/>
          <p:nvPr/>
        </p:nvSpPr>
        <p:spPr>
          <a:xfrm>
            <a:off x="747225" y="1903170"/>
            <a:ext cx="650686" cy="650685"/>
          </a:xfrm>
          <a:prstGeom prst="ellipse">
            <a:avLst/>
          </a:prstGeom>
          <a:solidFill>
            <a:srgbClr val="FAB847"/>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nvGrpSpPr>
          <p:cNvPr id="75" name="Google Shape;699;p31">
            <a:extLst>
              <a:ext uri="{FF2B5EF4-FFF2-40B4-BE49-F238E27FC236}">
                <a16:creationId xmlns:a16="http://schemas.microsoft.com/office/drawing/2014/main" id="{2B97204A-3C65-4C54-AB82-103673B4E736}"/>
              </a:ext>
            </a:extLst>
          </p:cNvPr>
          <p:cNvGrpSpPr/>
          <p:nvPr/>
        </p:nvGrpSpPr>
        <p:grpSpPr>
          <a:xfrm>
            <a:off x="871631" y="2018332"/>
            <a:ext cx="401877" cy="401814"/>
            <a:chOff x="2685825" y="840375"/>
            <a:chExt cx="481900" cy="481825"/>
          </a:xfrm>
        </p:grpSpPr>
        <p:sp>
          <p:nvSpPr>
            <p:cNvPr id="76" name="Google Shape;700;p31">
              <a:extLst>
                <a:ext uri="{FF2B5EF4-FFF2-40B4-BE49-F238E27FC236}">
                  <a16:creationId xmlns:a16="http://schemas.microsoft.com/office/drawing/2014/main" id="{677B687D-FB87-4AED-A6D1-87168E7B030C}"/>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77" name="Google Shape;701;p31">
              <a:extLst>
                <a:ext uri="{FF2B5EF4-FFF2-40B4-BE49-F238E27FC236}">
                  <a16:creationId xmlns:a16="http://schemas.microsoft.com/office/drawing/2014/main" id="{E7B9FD60-FCC5-4A69-B8E6-33DBE5B33B9B}"/>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sp>
        <p:nvSpPr>
          <p:cNvPr id="67" name="Google Shape;707;p31">
            <a:extLst>
              <a:ext uri="{FF2B5EF4-FFF2-40B4-BE49-F238E27FC236}">
                <a16:creationId xmlns:a16="http://schemas.microsoft.com/office/drawing/2014/main" id="{80400704-0AD6-47B3-8D9A-006C0FBEA835}"/>
              </a:ext>
            </a:extLst>
          </p:cNvPr>
          <p:cNvSpPr/>
          <p:nvPr/>
        </p:nvSpPr>
        <p:spPr>
          <a:xfrm rot="5400000">
            <a:off x="8003007" y="-296189"/>
            <a:ext cx="1227633" cy="5050804"/>
          </a:xfrm>
          <a:prstGeom prst="round2SameRect">
            <a:avLst>
              <a:gd name="adj1" fmla="val 26957"/>
              <a:gd name="adj2" fmla="val 0"/>
            </a:avLst>
          </a:prstGeom>
          <a:solidFill>
            <a:srgbClr val="58B9D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8" name="Google Shape;708;p31">
            <a:extLst>
              <a:ext uri="{FF2B5EF4-FFF2-40B4-BE49-F238E27FC236}">
                <a16:creationId xmlns:a16="http://schemas.microsoft.com/office/drawing/2014/main" id="{914BBF91-C89C-4417-8362-3E0033E9F61C}"/>
              </a:ext>
            </a:extLst>
          </p:cNvPr>
          <p:cNvSpPr/>
          <p:nvPr/>
        </p:nvSpPr>
        <p:spPr>
          <a:xfrm flipH="1">
            <a:off x="10786458" y="1902591"/>
            <a:ext cx="650686" cy="650685"/>
          </a:xfrm>
          <a:prstGeom prst="ellipse">
            <a:avLst/>
          </a:prstGeom>
          <a:solidFill>
            <a:srgbClr val="58B9D2"/>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nvGrpSpPr>
          <p:cNvPr id="69" name="Google Shape;709;p31">
            <a:extLst>
              <a:ext uri="{FF2B5EF4-FFF2-40B4-BE49-F238E27FC236}">
                <a16:creationId xmlns:a16="http://schemas.microsoft.com/office/drawing/2014/main" id="{5B1C33EA-BCE1-4F19-96FE-A1360448BCA5}"/>
              </a:ext>
            </a:extLst>
          </p:cNvPr>
          <p:cNvGrpSpPr/>
          <p:nvPr/>
        </p:nvGrpSpPr>
        <p:grpSpPr>
          <a:xfrm>
            <a:off x="10910900" y="2026648"/>
            <a:ext cx="415053" cy="402565"/>
            <a:chOff x="3270675" y="841800"/>
            <a:chExt cx="497700" cy="482725"/>
          </a:xfrm>
        </p:grpSpPr>
        <p:sp>
          <p:nvSpPr>
            <p:cNvPr id="70" name="Google Shape;710;p31">
              <a:extLst>
                <a:ext uri="{FF2B5EF4-FFF2-40B4-BE49-F238E27FC236}">
                  <a16:creationId xmlns:a16="http://schemas.microsoft.com/office/drawing/2014/main" id="{11E6D42A-BCE6-46E2-8DA5-0AB6440BABE9}"/>
                </a:ext>
              </a:extLst>
            </p:cNvPr>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71" name="Google Shape;711;p31">
              <a:extLst>
                <a:ext uri="{FF2B5EF4-FFF2-40B4-BE49-F238E27FC236}">
                  <a16:creationId xmlns:a16="http://schemas.microsoft.com/office/drawing/2014/main" id="{72B18BF5-6891-4687-9398-E9666DFA937C}"/>
                </a:ext>
              </a:extLst>
            </p:cNvPr>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72" name="Google Shape;712;p31">
              <a:extLst>
                <a:ext uri="{FF2B5EF4-FFF2-40B4-BE49-F238E27FC236}">
                  <a16:creationId xmlns:a16="http://schemas.microsoft.com/office/drawing/2014/main" id="{2A4C09EB-59EE-4760-8DE7-8DB8C4130D18}"/>
                </a:ext>
              </a:extLst>
            </p:cNvPr>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sp>
        <p:nvSpPr>
          <p:cNvPr id="56" name="Google Shape;718;p31">
            <a:extLst>
              <a:ext uri="{FF2B5EF4-FFF2-40B4-BE49-F238E27FC236}">
                <a16:creationId xmlns:a16="http://schemas.microsoft.com/office/drawing/2014/main" id="{F59C044C-6D53-46A3-A341-999F3684FB63}"/>
              </a:ext>
            </a:extLst>
          </p:cNvPr>
          <p:cNvSpPr/>
          <p:nvPr/>
        </p:nvSpPr>
        <p:spPr>
          <a:xfrm rot="16200000" flipH="1">
            <a:off x="2714626" y="1450038"/>
            <a:ext cx="1721104" cy="5050804"/>
          </a:xfrm>
          <a:prstGeom prst="round2SameRect">
            <a:avLst>
              <a:gd name="adj1" fmla="val 26957"/>
              <a:gd name="adj2" fmla="val 0"/>
            </a:avLst>
          </a:prstGeom>
          <a:solidFill>
            <a:srgbClr val="F3945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57" name="Google Shape;719;p31">
            <a:extLst>
              <a:ext uri="{FF2B5EF4-FFF2-40B4-BE49-F238E27FC236}">
                <a16:creationId xmlns:a16="http://schemas.microsoft.com/office/drawing/2014/main" id="{06CEFC58-29A0-47FF-A8FE-5F62A16BC7ED}"/>
              </a:ext>
            </a:extLst>
          </p:cNvPr>
          <p:cNvSpPr/>
          <p:nvPr/>
        </p:nvSpPr>
        <p:spPr>
          <a:xfrm>
            <a:off x="743192" y="3650097"/>
            <a:ext cx="650686" cy="650686"/>
          </a:xfrm>
          <a:prstGeom prst="ellipse">
            <a:avLst/>
          </a:prstGeom>
          <a:solidFill>
            <a:srgbClr val="F39451"/>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nvGrpSpPr>
          <p:cNvPr id="58" name="Google Shape;720;p31">
            <a:extLst>
              <a:ext uri="{FF2B5EF4-FFF2-40B4-BE49-F238E27FC236}">
                <a16:creationId xmlns:a16="http://schemas.microsoft.com/office/drawing/2014/main" id="{D7207DDF-CEB3-44EA-8BFD-2D7E84B6772F}"/>
              </a:ext>
            </a:extLst>
          </p:cNvPr>
          <p:cNvGrpSpPr/>
          <p:nvPr/>
        </p:nvGrpSpPr>
        <p:grpSpPr>
          <a:xfrm>
            <a:off x="857975" y="3770905"/>
            <a:ext cx="401752" cy="401835"/>
            <a:chOff x="5049725" y="2027900"/>
            <a:chExt cx="481750" cy="481850"/>
          </a:xfrm>
        </p:grpSpPr>
        <p:sp>
          <p:nvSpPr>
            <p:cNvPr id="59" name="Google Shape;721;p31">
              <a:extLst>
                <a:ext uri="{FF2B5EF4-FFF2-40B4-BE49-F238E27FC236}">
                  <a16:creationId xmlns:a16="http://schemas.microsoft.com/office/drawing/2014/main" id="{68E9471E-D854-4C34-83DA-38F7EAC21940}"/>
                </a:ext>
              </a:extLst>
            </p:cNvPr>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0" name="Google Shape;722;p31">
              <a:extLst>
                <a:ext uri="{FF2B5EF4-FFF2-40B4-BE49-F238E27FC236}">
                  <a16:creationId xmlns:a16="http://schemas.microsoft.com/office/drawing/2014/main" id="{9F326E88-19BF-4B4B-ACAD-3450E2AF8E1F}"/>
                </a:ext>
              </a:extLst>
            </p:cNvPr>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1" name="Google Shape;723;p31">
              <a:extLst>
                <a:ext uri="{FF2B5EF4-FFF2-40B4-BE49-F238E27FC236}">
                  <a16:creationId xmlns:a16="http://schemas.microsoft.com/office/drawing/2014/main" id="{03F0CCCC-B3BA-4362-BC3C-67B8BBD1BFE7}"/>
                </a:ext>
              </a:extLst>
            </p:cNvPr>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2" name="Google Shape;724;p31">
              <a:extLst>
                <a:ext uri="{FF2B5EF4-FFF2-40B4-BE49-F238E27FC236}">
                  <a16:creationId xmlns:a16="http://schemas.microsoft.com/office/drawing/2014/main" id="{0B2146D0-1D43-4E8B-BBDE-230CBF262CB6}"/>
                </a:ext>
              </a:extLst>
            </p:cNvPr>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3" name="Google Shape;725;p31">
              <a:extLst>
                <a:ext uri="{FF2B5EF4-FFF2-40B4-BE49-F238E27FC236}">
                  <a16:creationId xmlns:a16="http://schemas.microsoft.com/office/drawing/2014/main" id="{965194AE-620E-4D92-B1C7-695FEA80A90C}"/>
                </a:ext>
              </a:extLst>
            </p:cNvPr>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4" name="Google Shape;726;p31">
              <a:extLst>
                <a:ext uri="{FF2B5EF4-FFF2-40B4-BE49-F238E27FC236}">
                  <a16:creationId xmlns:a16="http://schemas.microsoft.com/office/drawing/2014/main" id="{AC09C216-9241-45F0-A3D2-FF748F16AB31}"/>
                </a:ext>
              </a:extLst>
            </p:cNvPr>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5" name="Google Shape;727;p31">
              <a:extLst>
                <a:ext uri="{FF2B5EF4-FFF2-40B4-BE49-F238E27FC236}">
                  <a16:creationId xmlns:a16="http://schemas.microsoft.com/office/drawing/2014/main" id="{233F5CD0-D8C4-445C-89B7-21054F6A86CE}"/>
                </a:ext>
              </a:extLst>
            </p:cNvPr>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66" name="Google Shape;728;p31">
              <a:extLst>
                <a:ext uri="{FF2B5EF4-FFF2-40B4-BE49-F238E27FC236}">
                  <a16:creationId xmlns:a16="http://schemas.microsoft.com/office/drawing/2014/main" id="{7A3F0C02-AD39-4C0C-B275-9290877BFD56}"/>
                </a:ext>
              </a:extLst>
            </p:cNvPr>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sp>
        <p:nvSpPr>
          <p:cNvPr id="51" name="Google Shape;734;p31">
            <a:extLst>
              <a:ext uri="{FF2B5EF4-FFF2-40B4-BE49-F238E27FC236}">
                <a16:creationId xmlns:a16="http://schemas.microsoft.com/office/drawing/2014/main" id="{7BD9F99B-B445-4F07-ACD8-C6A8CF8DE1BC}"/>
              </a:ext>
            </a:extLst>
          </p:cNvPr>
          <p:cNvSpPr/>
          <p:nvPr/>
        </p:nvSpPr>
        <p:spPr>
          <a:xfrm rot="5400000">
            <a:off x="7756271" y="1450041"/>
            <a:ext cx="1721104" cy="5050804"/>
          </a:xfrm>
          <a:prstGeom prst="round2SameRect">
            <a:avLst>
              <a:gd name="adj1" fmla="val 26957"/>
              <a:gd name="adj2" fmla="val 0"/>
            </a:avLst>
          </a:prstGeom>
          <a:solidFill>
            <a:srgbClr val="3686C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52" name="Google Shape;735;p31">
            <a:extLst>
              <a:ext uri="{FF2B5EF4-FFF2-40B4-BE49-F238E27FC236}">
                <a16:creationId xmlns:a16="http://schemas.microsoft.com/office/drawing/2014/main" id="{9FD12BCC-A09D-40F2-8923-C9C8A99241C3}"/>
              </a:ext>
            </a:extLst>
          </p:cNvPr>
          <p:cNvSpPr/>
          <p:nvPr/>
        </p:nvSpPr>
        <p:spPr>
          <a:xfrm flipH="1">
            <a:off x="10786458" y="3650097"/>
            <a:ext cx="650686" cy="650686"/>
          </a:xfrm>
          <a:prstGeom prst="ellipse">
            <a:avLst/>
          </a:prstGeom>
          <a:solidFill>
            <a:schemeClr val="accent5"/>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grpSp>
        <p:nvGrpSpPr>
          <p:cNvPr id="53" name="Google Shape;736;p31">
            <a:extLst>
              <a:ext uri="{FF2B5EF4-FFF2-40B4-BE49-F238E27FC236}">
                <a16:creationId xmlns:a16="http://schemas.microsoft.com/office/drawing/2014/main" id="{D69C530A-5692-4AF8-9B66-CD5AC88E0E7B}"/>
              </a:ext>
            </a:extLst>
          </p:cNvPr>
          <p:cNvGrpSpPr/>
          <p:nvPr/>
        </p:nvGrpSpPr>
        <p:grpSpPr>
          <a:xfrm>
            <a:off x="10910901" y="3770928"/>
            <a:ext cx="401815" cy="401815"/>
            <a:chOff x="3271200" y="1435075"/>
            <a:chExt cx="481825" cy="481825"/>
          </a:xfrm>
        </p:grpSpPr>
        <p:sp>
          <p:nvSpPr>
            <p:cNvPr id="54" name="Google Shape;737;p31">
              <a:extLst>
                <a:ext uri="{FF2B5EF4-FFF2-40B4-BE49-F238E27FC236}">
                  <a16:creationId xmlns:a16="http://schemas.microsoft.com/office/drawing/2014/main" id="{C1571F57-E719-4D44-9FA2-445E3804D1CF}"/>
                </a:ext>
              </a:extLst>
            </p:cNvPr>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sp>
          <p:nvSpPr>
            <p:cNvPr id="55" name="Google Shape;738;p31">
              <a:extLst>
                <a:ext uri="{FF2B5EF4-FFF2-40B4-BE49-F238E27FC236}">
                  <a16:creationId xmlns:a16="http://schemas.microsoft.com/office/drawing/2014/main" id="{705E7732-F3D1-4C31-9B4E-C6F16F183836}"/>
                </a:ext>
              </a:extLst>
            </p:cNvPr>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endParaRPr>
            </a:p>
          </p:txBody>
        </p:sp>
      </p:grpSp>
      <p:sp>
        <p:nvSpPr>
          <p:cNvPr id="37" name="Google Shape;744;p31">
            <a:extLst>
              <a:ext uri="{FF2B5EF4-FFF2-40B4-BE49-F238E27FC236}">
                <a16:creationId xmlns:a16="http://schemas.microsoft.com/office/drawing/2014/main" id="{1AB821DF-06C1-45C9-B5DA-274A8A74EF8E}"/>
              </a:ext>
            </a:extLst>
          </p:cNvPr>
          <p:cNvSpPr/>
          <p:nvPr/>
        </p:nvSpPr>
        <p:spPr>
          <a:xfrm rot="16200000" flipH="1">
            <a:off x="2964547" y="3210332"/>
            <a:ext cx="1215838" cy="5050804"/>
          </a:xfrm>
          <a:prstGeom prst="round2SameRect">
            <a:avLst>
              <a:gd name="adj1" fmla="val 26957"/>
              <a:gd name="adj2" fmla="val 0"/>
            </a:avLst>
          </a:prstGeom>
          <a:solidFill>
            <a:srgbClr val="CE4D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46" name="Google Shape;745;p31">
            <a:extLst>
              <a:ext uri="{FF2B5EF4-FFF2-40B4-BE49-F238E27FC236}">
                <a16:creationId xmlns:a16="http://schemas.microsoft.com/office/drawing/2014/main" id="{56B89444-D8D8-49D8-8E49-8960698394F6}"/>
              </a:ext>
            </a:extLst>
          </p:cNvPr>
          <p:cNvSpPr/>
          <p:nvPr/>
        </p:nvSpPr>
        <p:spPr>
          <a:xfrm>
            <a:off x="744514" y="5384775"/>
            <a:ext cx="650686" cy="650686"/>
          </a:xfrm>
          <a:prstGeom prst="ellipse">
            <a:avLst/>
          </a:prstGeom>
          <a:solidFill>
            <a:srgbClr val="CE4D78"/>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nvGrpSpPr>
          <p:cNvPr id="47" name="Google Shape;746;p31">
            <a:extLst>
              <a:ext uri="{FF2B5EF4-FFF2-40B4-BE49-F238E27FC236}">
                <a16:creationId xmlns:a16="http://schemas.microsoft.com/office/drawing/2014/main" id="{89CD6E7C-FD68-4234-A549-553A8FBB528B}"/>
              </a:ext>
            </a:extLst>
          </p:cNvPr>
          <p:cNvGrpSpPr/>
          <p:nvPr/>
        </p:nvGrpSpPr>
        <p:grpSpPr>
          <a:xfrm>
            <a:off x="861473" y="5533869"/>
            <a:ext cx="416762" cy="352508"/>
            <a:chOff x="2678350" y="1464650"/>
            <a:chExt cx="499750" cy="422700"/>
          </a:xfrm>
        </p:grpSpPr>
        <p:sp>
          <p:nvSpPr>
            <p:cNvPr id="48" name="Google Shape;747;p31">
              <a:extLst>
                <a:ext uri="{FF2B5EF4-FFF2-40B4-BE49-F238E27FC236}">
                  <a16:creationId xmlns:a16="http://schemas.microsoft.com/office/drawing/2014/main" id="{054AA14D-B9E0-4AF2-BEA2-52C4A22F1380}"/>
                </a:ext>
              </a:extLst>
            </p:cNvPr>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49" name="Google Shape;748;p31">
              <a:extLst>
                <a:ext uri="{FF2B5EF4-FFF2-40B4-BE49-F238E27FC236}">
                  <a16:creationId xmlns:a16="http://schemas.microsoft.com/office/drawing/2014/main" id="{F7FAEE9A-7E23-4C44-A5BF-708EDF2EBBF0}"/>
                </a:ext>
              </a:extLst>
            </p:cNvPr>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50" name="Google Shape;749;p31">
              <a:extLst>
                <a:ext uri="{FF2B5EF4-FFF2-40B4-BE49-F238E27FC236}">
                  <a16:creationId xmlns:a16="http://schemas.microsoft.com/office/drawing/2014/main" id="{E162CA59-739E-4C41-8B06-BDF82BDEE324}"/>
                </a:ext>
              </a:extLst>
            </p:cNvPr>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sp>
        <p:nvSpPr>
          <p:cNvPr id="34" name="Google Shape;755;p31">
            <a:extLst>
              <a:ext uri="{FF2B5EF4-FFF2-40B4-BE49-F238E27FC236}">
                <a16:creationId xmlns:a16="http://schemas.microsoft.com/office/drawing/2014/main" id="{5C527D12-2B6A-4EB8-BACC-102D7EB7FE12}"/>
              </a:ext>
            </a:extLst>
          </p:cNvPr>
          <p:cNvSpPr/>
          <p:nvPr/>
        </p:nvSpPr>
        <p:spPr>
          <a:xfrm rot="5400000">
            <a:off x="8006192" y="3210333"/>
            <a:ext cx="1215840" cy="5050804"/>
          </a:xfrm>
          <a:prstGeom prst="round2SameRect">
            <a:avLst>
              <a:gd name="adj1" fmla="val 26957"/>
              <a:gd name="adj2" fmla="val 0"/>
            </a:avLst>
          </a:prstGeom>
          <a:solidFill>
            <a:srgbClr val="3242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35" name="Google Shape;756;p31">
            <a:extLst>
              <a:ext uri="{FF2B5EF4-FFF2-40B4-BE49-F238E27FC236}">
                <a16:creationId xmlns:a16="http://schemas.microsoft.com/office/drawing/2014/main" id="{41D04B2C-6C50-4141-AF4B-B524AF7E9E8D}"/>
              </a:ext>
            </a:extLst>
          </p:cNvPr>
          <p:cNvSpPr/>
          <p:nvPr/>
        </p:nvSpPr>
        <p:spPr>
          <a:xfrm flipH="1">
            <a:off x="10791377" y="5384775"/>
            <a:ext cx="650686" cy="650686"/>
          </a:xfrm>
          <a:prstGeom prst="ellipse">
            <a:avLst/>
          </a:prstGeom>
          <a:solidFill>
            <a:schemeClr val="accent6"/>
          </a:solidFill>
          <a:ln w="2857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sp>
        <p:nvSpPr>
          <p:cNvPr id="36" name="Google Shape;757;p31">
            <a:extLst>
              <a:ext uri="{FF2B5EF4-FFF2-40B4-BE49-F238E27FC236}">
                <a16:creationId xmlns:a16="http://schemas.microsoft.com/office/drawing/2014/main" id="{A62023CA-F543-4B93-8761-D960754CD8BD}"/>
              </a:ext>
            </a:extLst>
          </p:cNvPr>
          <p:cNvSpPr/>
          <p:nvPr/>
        </p:nvSpPr>
        <p:spPr>
          <a:xfrm>
            <a:off x="10922449" y="5521775"/>
            <a:ext cx="401815" cy="376713"/>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bg1"/>
              </a:solidFill>
              <a:latin typeface="Times New Roman" panose="02020603050405020304" pitchFamily="18" charset="0"/>
              <a:cs typeface="Times New Roman" panose="02020603050405020304" pitchFamily="18" charset="0"/>
            </a:endParaRPr>
          </a:p>
        </p:txBody>
      </p:sp>
      <p:grpSp>
        <p:nvGrpSpPr>
          <p:cNvPr id="27" name="Google Shape;761;p31">
            <a:extLst>
              <a:ext uri="{FF2B5EF4-FFF2-40B4-BE49-F238E27FC236}">
                <a16:creationId xmlns:a16="http://schemas.microsoft.com/office/drawing/2014/main" id="{8DF43AF0-32E0-4E3F-A73B-DAD0CEE67B74}"/>
              </a:ext>
            </a:extLst>
          </p:cNvPr>
          <p:cNvGrpSpPr/>
          <p:nvPr/>
        </p:nvGrpSpPr>
        <p:grpSpPr>
          <a:xfrm>
            <a:off x="2574538" y="1173132"/>
            <a:ext cx="3417918" cy="301965"/>
            <a:chOff x="1864151" y="1230050"/>
            <a:chExt cx="2631649" cy="232500"/>
          </a:xfrm>
        </p:grpSpPr>
        <p:sp>
          <p:nvSpPr>
            <p:cNvPr id="32" name="Google Shape;762;p31">
              <a:extLst>
                <a:ext uri="{FF2B5EF4-FFF2-40B4-BE49-F238E27FC236}">
                  <a16:creationId xmlns:a16="http://schemas.microsoft.com/office/drawing/2014/main" id="{AFDC9142-025F-4470-BCD6-24291558A497}"/>
                </a:ext>
              </a:extLst>
            </p:cNvPr>
            <p:cNvSpPr txBox="1"/>
            <p:nvPr/>
          </p:nvSpPr>
          <p:spPr>
            <a:xfrm>
              <a:off x="3011700" y="1230050"/>
              <a:ext cx="1484100" cy="2325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b="1" dirty="0">
                  <a:solidFill>
                    <a:schemeClr val="accent1"/>
                  </a:solidFill>
                  <a:latin typeface="Times New Roman" panose="02020603050405020304" pitchFamily="18" charset="0"/>
                  <a:ea typeface="Roboto"/>
                  <a:cs typeface="Times New Roman" panose="02020603050405020304" pitchFamily="18" charset="0"/>
                  <a:sym typeface="Roboto"/>
                </a:rPr>
                <a:t> </a:t>
              </a:r>
              <a:r>
                <a:rPr lang="en-US" b="1" dirty="0" err="1">
                  <a:solidFill>
                    <a:schemeClr val="accent1"/>
                  </a:solidFill>
                  <a:latin typeface="Times New Roman" panose="02020603050405020304" pitchFamily="18" charset="0"/>
                  <a:ea typeface="Roboto"/>
                  <a:cs typeface="Times New Roman" panose="02020603050405020304" pitchFamily="18" charset="0"/>
                  <a:sym typeface="Roboto"/>
                </a:rPr>
                <a:t>Thực</a:t>
              </a:r>
              <a:r>
                <a:rPr lang="en-US" b="1" dirty="0">
                  <a:solidFill>
                    <a:schemeClr val="accent1"/>
                  </a:solidFill>
                  <a:latin typeface="Times New Roman" panose="02020603050405020304" pitchFamily="18" charset="0"/>
                  <a:ea typeface="Roboto"/>
                  <a:cs typeface="Times New Roman" panose="02020603050405020304" pitchFamily="18" charset="0"/>
                  <a:sym typeface="Roboto"/>
                </a:rPr>
                <a:t> </a:t>
              </a:r>
              <a:r>
                <a:rPr lang="en-US" b="1" dirty="0" err="1">
                  <a:solidFill>
                    <a:schemeClr val="accent1"/>
                  </a:solidFill>
                  <a:latin typeface="Times New Roman" panose="02020603050405020304" pitchFamily="18" charset="0"/>
                  <a:ea typeface="Roboto"/>
                  <a:cs typeface="Times New Roman" panose="02020603050405020304" pitchFamily="18" charset="0"/>
                  <a:sym typeface="Roboto"/>
                </a:rPr>
                <a:t>trạng</a:t>
              </a:r>
              <a:endParaRPr b="1" dirty="0">
                <a:solidFill>
                  <a:schemeClr val="accent1"/>
                </a:solidFill>
                <a:latin typeface="Times New Roman" panose="02020603050405020304" pitchFamily="18" charset="0"/>
                <a:ea typeface="Roboto"/>
                <a:cs typeface="Times New Roman" panose="02020603050405020304" pitchFamily="18" charset="0"/>
                <a:sym typeface="Roboto"/>
              </a:endParaRPr>
            </a:p>
          </p:txBody>
        </p:sp>
        <p:cxnSp>
          <p:nvCxnSpPr>
            <p:cNvPr id="33" name="Google Shape;763;p31">
              <a:extLst>
                <a:ext uri="{FF2B5EF4-FFF2-40B4-BE49-F238E27FC236}">
                  <a16:creationId xmlns:a16="http://schemas.microsoft.com/office/drawing/2014/main" id="{2E63D139-3B5A-4B77-8A87-CA42C5D460D1}"/>
                </a:ext>
              </a:extLst>
            </p:cNvPr>
            <p:cNvCxnSpPr>
              <a:cxnSpLocks/>
            </p:cNvCxnSpPr>
            <p:nvPr/>
          </p:nvCxnSpPr>
          <p:spPr>
            <a:xfrm flipH="1">
              <a:off x="1864151" y="1361725"/>
              <a:ext cx="1147549" cy="0"/>
            </a:xfrm>
            <a:prstGeom prst="straightConnector1">
              <a:avLst/>
            </a:prstGeom>
            <a:noFill/>
            <a:ln w="19050" cap="flat" cmpd="sng">
              <a:solidFill>
                <a:schemeClr val="accent1"/>
              </a:solidFill>
              <a:prstDash val="solid"/>
              <a:round/>
              <a:headEnd type="none" w="med" len="med"/>
              <a:tailEnd type="triangle" w="med" len="med"/>
            </a:ln>
          </p:spPr>
        </p:cxnSp>
      </p:grpSp>
      <p:grpSp>
        <p:nvGrpSpPr>
          <p:cNvPr id="29" name="Google Shape;764;p31">
            <a:extLst>
              <a:ext uri="{FF2B5EF4-FFF2-40B4-BE49-F238E27FC236}">
                <a16:creationId xmlns:a16="http://schemas.microsoft.com/office/drawing/2014/main" id="{EC9A226E-9601-45EF-B6CD-1CFD47227439}"/>
              </a:ext>
            </a:extLst>
          </p:cNvPr>
          <p:cNvGrpSpPr/>
          <p:nvPr/>
        </p:nvGrpSpPr>
        <p:grpSpPr>
          <a:xfrm>
            <a:off x="5992456" y="1171245"/>
            <a:ext cx="3228610" cy="301965"/>
            <a:chOff x="4669946" y="1230050"/>
            <a:chExt cx="2485888" cy="232500"/>
          </a:xfrm>
        </p:grpSpPr>
        <p:sp>
          <p:nvSpPr>
            <p:cNvPr id="30" name="Google Shape;765;p31">
              <a:extLst>
                <a:ext uri="{FF2B5EF4-FFF2-40B4-BE49-F238E27FC236}">
                  <a16:creationId xmlns:a16="http://schemas.microsoft.com/office/drawing/2014/main" id="{AC8A6649-98F8-4BF0-96A7-B1EF53B44B54}"/>
                </a:ext>
              </a:extLst>
            </p:cNvPr>
            <p:cNvSpPr txBox="1"/>
            <p:nvPr/>
          </p:nvSpPr>
          <p:spPr>
            <a:xfrm>
              <a:off x="4669946" y="1230050"/>
              <a:ext cx="1431045" cy="2325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b="1" dirty="0" err="1">
                  <a:solidFill>
                    <a:schemeClr val="accent4"/>
                  </a:solidFill>
                  <a:latin typeface="Times New Roman" panose="02020603050405020304" pitchFamily="18" charset="0"/>
                  <a:ea typeface="Roboto"/>
                  <a:cs typeface="Times New Roman" panose="02020603050405020304" pitchFamily="18" charset="0"/>
                  <a:sym typeface="Roboto"/>
                </a:rPr>
                <a:t>Tương</a:t>
              </a:r>
              <a:r>
                <a:rPr lang="en-US" b="1" dirty="0">
                  <a:solidFill>
                    <a:schemeClr val="accent4"/>
                  </a:solidFill>
                  <a:latin typeface="Times New Roman" panose="02020603050405020304" pitchFamily="18" charset="0"/>
                  <a:ea typeface="Roboto"/>
                  <a:cs typeface="Times New Roman" panose="02020603050405020304" pitchFamily="18" charset="0"/>
                  <a:sym typeface="Roboto"/>
                </a:rPr>
                <a:t> </a:t>
              </a:r>
              <a:r>
                <a:rPr lang="en-US" b="1" dirty="0" err="1">
                  <a:solidFill>
                    <a:schemeClr val="accent4"/>
                  </a:solidFill>
                  <a:latin typeface="Times New Roman" panose="02020603050405020304" pitchFamily="18" charset="0"/>
                  <a:ea typeface="Roboto"/>
                  <a:cs typeface="Times New Roman" panose="02020603050405020304" pitchFamily="18" charset="0"/>
                  <a:sym typeface="Roboto"/>
                </a:rPr>
                <a:t>lai</a:t>
              </a:r>
              <a:endParaRPr b="1" dirty="0">
                <a:solidFill>
                  <a:schemeClr val="accent4"/>
                </a:solidFill>
                <a:latin typeface="Times New Roman" panose="02020603050405020304" pitchFamily="18" charset="0"/>
                <a:ea typeface="Roboto"/>
                <a:cs typeface="Times New Roman" panose="02020603050405020304" pitchFamily="18" charset="0"/>
                <a:sym typeface="Roboto"/>
              </a:endParaRPr>
            </a:p>
          </p:txBody>
        </p:sp>
        <p:cxnSp>
          <p:nvCxnSpPr>
            <p:cNvPr id="31" name="Google Shape;766;p31">
              <a:extLst>
                <a:ext uri="{FF2B5EF4-FFF2-40B4-BE49-F238E27FC236}">
                  <a16:creationId xmlns:a16="http://schemas.microsoft.com/office/drawing/2014/main" id="{BFF6402F-2EFF-435C-9660-62DD010150B9}"/>
                </a:ext>
              </a:extLst>
            </p:cNvPr>
            <p:cNvCxnSpPr>
              <a:cxnSpLocks/>
            </p:cNvCxnSpPr>
            <p:nvPr/>
          </p:nvCxnSpPr>
          <p:spPr>
            <a:xfrm>
              <a:off x="6042291" y="1361725"/>
              <a:ext cx="1113543" cy="0"/>
            </a:xfrm>
            <a:prstGeom prst="straightConnector1">
              <a:avLst/>
            </a:prstGeom>
            <a:noFill/>
            <a:ln w="19050" cap="flat" cmpd="sng">
              <a:solidFill>
                <a:schemeClr val="accent4"/>
              </a:solidFill>
              <a:prstDash val="solid"/>
              <a:round/>
              <a:headEnd type="none" w="med" len="med"/>
              <a:tailEnd type="triangle" w="med" len="med"/>
            </a:ln>
          </p:spPr>
        </p:cxnSp>
      </p:grpSp>
      <p:sp>
        <p:nvSpPr>
          <p:cNvPr id="15" name="TextBox 14">
            <a:extLst>
              <a:ext uri="{FF2B5EF4-FFF2-40B4-BE49-F238E27FC236}">
                <a16:creationId xmlns:a16="http://schemas.microsoft.com/office/drawing/2014/main" id="{E2B99381-53E9-4D5E-8E61-9E30963EBA54}"/>
              </a:ext>
            </a:extLst>
          </p:cNvPr>
          <p:cNvSpPr txBox="1"/>
          <p:nvPr/>
        </p:nvSpPr>
        <p:spPr>
          <a:xfrm>
            <a:off x="1828955" y="1908692"/>
            <a:ext cx="4218393" cy="553998"/>
          </a:xfrm>
          <a:prstGeom prst="rect">
            <a:avLst/>
          </a:prstGeom>
          <a:noFill/>
        </p:spPr>
        <p:txBody>
          <a:bodyPr wrap="square" lIns="0" tIns="0" rIns="0" bIns="0" rtlCol="0">
            <a:spAutoFit/>
          </a:bodyPr>
          <a:lstStyle/>
          <a:p>
            <a:pPr lvl="0">
              <a:spcBef>
                <a:spcPts val="600"/>
              </a:spcBef>
            </a:pP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lao </a:t>
            </a:r>
            <a:r>
              <a:rPr lang="en-US" dirty="0" err="1">
                <a:solidFill>
                  <a:schemeClr val="bg1"/>
                </a:solidFill>
                <a:latin typeface="Times New Roman" panose="02020603050405020304" pitchFamily="18" charset="0"/>
                <a:cs typeface="Times New Roman" panose="02020603050405020304" pitchFamily="18" charset="0"/>
              </a:rPr>
              <a:t>độ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à</a:t>
            </a:r>
            <a:r>
              <a:rPr lang="en-US" dirty="0">
                <a:solidFill>
                  <a:schemeClr val="bg1"/>
                </a:solidFill>
                <a:latin typeface="Times New Roman" panose="02020603050405020304" pitchFamily="18" charset="0"/>
                <a:cs typeface="Times New Roman" panose="02020603050405020304" pitchFamily="18" charset="0"/>
              </a:rPr>
              <a:t> 20,6%  </a:t>
            </a:r>
            <a:r>
              <a:rPr lang="en-US" dirty="0" err="1">
                <a:solidFill>
                  <a:schemeClr val="bg1"/>
                </a:solidFill>
                <a:latin typeface="Times New Roman" panose="02020603050405020304" pitchFamily="18" charset="0"/>
                <a:cs typeface="Times New Roman" panose="02020603050405020304" pitchFamily="18" charset="0"/>
              </a:rPr>
              <a:t>tro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a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oạn</a:t>
            </a:r>
            <a:r>
              <a:rPr lang="en-US" dirty="0">
                <a:solidFill>
                  <a:schemeClr val="bg1"/>
                </a:solidFill>
                <a:latin typeface="Times New Roman" panose="02020603050405020304" pitchFamily="18" charset="0"/>
                <a:cs typeface="Times New Roman" panose="02020603050405020304" pitchFamily="18" charset="0"/>
              </a:rPr>
              <a:t> 2016-2020.</a:t>
            </a:r>
          </a:p>
        </p:txBody>
      </p:sp>
      <p:sp>
        <p:nvSpPr>
          <p:cNvPr id="16" name="TextBox 15">
            <a:extLst>
              <a:ext uri="{FF2B5EF4-FFF2-40B4-BE49-F238E27FC236}">
                <a16:creationId xmlns:a16="http://schemas.microsoft.com/office/drawing/2014/main" id="{2BF8AEB2-0BBA-4436-9CE8-E9608FADA570}"/>
              </a:ext>
            </a:extLst>
          </p:cNvPr>
          <p:cNvSpPr txBox="1"/>
          <p:nvPr/>
        </p:nvSpPr>
        <p:spPr>
          <a:xfrm>
            <a:off x="1828955" y="3524394"/>
            <a:ext cx="3692161" cy="553998"/>
          </a:xfrm>
          <a:prstGeom prst="rect">
            <a:avLst/>
          </a:prstGeom>
          <a:noFill/>
        </p:spPr>
        <p:txBody>
          <a:bodyPr wrap="square" lIns="0" tIns="0" rIns="0" bIns="0" rtlCol="0">
            <a:spAutoFit/>
          </a:bodyPr>
          <a:lstStyle/>
          <a:p>
            <a:pPr lvl="0">
              <a:spcBef>
                <a:spcPts val="600"/>
              </a:spcBef>
            </a:pP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am</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a</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khoá</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à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ạ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ấp</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uyê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a</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ấp</a:t>
            </a:r>
            <a:r>
              <a:rPr lang="en-US" dirty="0">
                <a:solidFill>
                  <a:schemeClr val="bg1"/>
                </a:solidFill>
                <a:latin typeface="Times New Roman" panose="02020603050405020304" pitchFamily="18" charset="0"/>
                <a:cs typeface="Times New Roman" panose="02020603050405020304" pitchFamily="18" charset="0"/>
              </a:rPr>
              <a:t>.</a:t>
            </a:r>
          </a:p>
        </p:txBody>
      </p:sp>
      <p:sp>
        <p:nvSpPr>
          <p:cNvPr id="17" name="TextBox 16">
            <a:extLst>
              <a:ext uri="{FF2B5EF4-FFF2-40B4-BE49-F238E27FC236}">
                <a16:creationId xmlns:a16="http://schemas.microsoft.com/office/drawing/2014/main" id="{6316ED46-5BA3-47E6-87A9-647AB8CB444E}"/>
              </a:ext>
            </a:extLst>
          </p:cNvPr>
          <p:cNvSpPr txBox="1"/>
          <p:nvPr/>
        </p:nvSpPr>
        <p:spPr>
          <a:xfrm>
            <a:off x="1828955" y="5316994"/>
            <a:ext cx="3692161" cy="1107996"/>
          </a:xfrm>
          <a:prstGeom prst="rect">
            <a:avLst/>
          </a:prstGeom>
          <a:noFill/>
        </p:spPr>
        <p:txBody>
          <a:bodyPr wrap="square" lIns="0" tIns="0" rIns="0" bIns="0" rtlCol="0">
            <a:spAutoFit/>
          </a:bodyPr>
          <a:lstStyle/>
          <a:p>
            <a:pPr lvl="0">
              <a:spcBef>
                <a:spcPts val="600"/>
              </a:spcBef>
            </a:pP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bộ</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quả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ý</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à</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ấp</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ổ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số</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ro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ị</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rí</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quả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ý</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à</a:t>
            </a:r>
            <a:r>
              <a:rPr lang="en-US" dirty="0">
                <a:solidFill>
                  <a:schemeClr val="bg1"/>
                </a:solidFill>
                <a:latin typeface="Times New Roman" panose="02020603050405020304" pitchFamily="18" charset="0"/>
                <a:cs typeface="Times New Roman" panose="02020603050405020304" pitchFamily="18" charset="0"/>
              </a:rPr>
              <a:t> 1.685 </a:t>
            </a:r>
            <a:r>
              <a:rPr lang="en-US" dirty="0" err="1">
                <a:solidFill>
                  <a:schemeClr val="bg1"/>
                </a:solidFill>
                <a:latin typeface="Times New Roman" panose="02020603050405020304" pitchFamily="18" charset="0"/>
                <a:cs typeface="Times New Roman" panose="02020603050405020304" pitchFamily="18" charset="0"/>
              </a:rPr>
              <a:t>ngườ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ăm</a:t>
            </a:r>
            <a:r>
              <a:rPr lang="en-US" dirty="0">
                <a:solidFill>
                  <a:schemeClr val="bg1"/>
                </a:solidFill>
                <a:latin typeface="Times New Roman" panose="02020603050405020304" pitchFamily="18" charset="0"/>
                <a:cs typeface="Times New Roman" panose="02020603050405020304" pitchFamily="18" charset="0"/>
              </a:rPr>
              <a:t> 2023), </a:t>
            </a:r>
            <a:r>
              <a:rPr lang="en-US" dirty="0" err="1">
                <a:solidFill>
                  <a:schemeClr val="bg1"/>
                </a:solidFill>
                <a:latin typeface="Times New Roman" panose="02020603050405020304" pitchFamily="18" charset="0"/>
                <a:cs typeface="Times New Roman" panose="02020603050405020304" pitchFamily="18" charset="0"/>
              </a:rPr>
              <a:t>tươ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ương</a:t>
            </a:r>
            <a:r>
              <a:rPr lang="en-US" dirty="0">
                <a:solidFill>
                  <a:schemeClr val="bg1"/>
                </a:solidFill>
                <a:latin typeface="Times New Roman" panose="02020603050405020304" pitchFamily="18" charset="0"/>
                <a:cs typeface="Times New Roman" panose="02020603050405020304" pitchFamily="18" charset="0"/>
              </a:rPr>
              <a:t> 13,052%.</a:t>
            </a:r>
          </a:p>
        </p:txBody>
      </p:sp>
      <p:sp>
        <p:nvSpPr>
          <p:cNvPr id="18" name="TextBox 17">
            <a:extLst>
              <a:ext uri="{FF2B5EF4-FFF2-40B4-BE49-F238E27FC236}">
                <a16:creationId xmlns:a16="http://schemas.microsoft.com/office/drawing/2014/main" id="{0C62F10B-6E52-4C6D-8FE1-E4EF34CD3F71}"/>
              </a:ext>
            </a:extLst>
          </p:cNvPr>
          <p:cNvSpPr txBox="1"/>
          <p:nvPr/>
        </p:nvSpPr>
        <p:spPr>
          <a:xfrm>
            <a:off x="6126277" y="1667811"/>
            <a:ext cx="4341207" cy="830997"/>
          </a:xfrm>
          <a:prstGeom prst="rect">
            <a:avLst/>
          </a:prstGeom>
          <a:noFill/>
        </p:spPr>
        <p:txBody>
          <a:bodyPr wrap="square" lIns="0" tIns="0" rIns="0" bIns="0" rtlCol="0">
            <a:spAutoFit/>
          </a:bodyPr>
          <a:lstStyle/>
          <a:p>
            <a:pPr algn="just">
              <a:spcBef>
                <a:spcPts val="600"/>
              </a:spcBef>
            </a:pPr>
            <a:r>
              <a:rPr lang="en-US" dirty="0" err="1">
                <a:solidFill>
                  <a:schemeClr val="bg1"/>
                </a:solidFill>
                <a:latin typeface="Times New Roman" panose="02020603050405020304" pitchFamily="18" charset="0"/>
                <a:cs typeface="Times New Roman" panose="02020603050405020304" pitchFamily="18" charset="0"/>
              </a:rPr>
              <a:t>Cả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iệ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quy</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rìn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uyể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dụ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dướ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ă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kín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ớ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a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ộ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ầ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ă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rưở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ít</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hất</a:t>
            </a:r>
            <a:r>
              <a:rPr lang="en-US" dirty="0">
                <a:solidFill>
                  <a:schemeClr val="bg1"/>
                </a:solidFill>
                <a:latin typeface="Times New Roman" panose="02020603050405020304" pitchFamily="18" charset="0"/>
                <a:cs typeface="Times New Roman" panose="02020603050405020304" pitchFamily="18" charset="0"/>
              </a:rPr>
              <a:t> </a:t>
            </a:r>
            <a:r>
              <a:rPr lang="en-US" b="1" dirty="0">
                <a:solidFill>
                  <a:schemeClr val="bg1"/>
                </a:solidFill>
                <a:latin typeface="Times New Roman" panose="02020603050405020304" pitchFamily="18" charset="0"/>
                <a:cs typeface="Times New Roman" panose="02020603050405020304" pitchFamily="18" charset="0"/>
              </a:rPr>
              <a:t>2%</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à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ăm</a:t>
            </a:r>
            <a:r>
              <a:rPr lang="en-US" dirty="0">
                <a:solidFill>
                  <a:schemeClr val="bg1"/>
                </a:solidFill>
                <a:latin typeface="Times New Roman" panose="02020603050405020304" pitchFamily="18" charset="0"/>
                <a:cs typeface="Times New Roman" panose="02020603050405020304" pitchFamily="18" charset="0"/>
              </a:rPr>
              <a:t> 2025, </a:t>
            </a:r>
            <a:r>
              <a:rPr lang="en-US" dirty="0" err="1">
                <a:solidFill>
                  <a:schemeClr val="bg1"/>
                </a:solidFill>
                <a:latin typeface="Times New Roman" panose="02020603050405020304" pitchFamily="18" charset="0"/>
                <a:cs typeface="Times New Roman" panose="02020603050405020304" pitchFamily="18" charset="0"/>
              </a:rPr>
              <a:t>đặ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biệt</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ị</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rí</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kỹ</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uật</a:t>
            </a:r>
            <a:r>
              <a:rPr lang="en-US" dirty="0">
                <a:solidFill>
                  <a:schemeClr val="bg1"/>
                </a:solidFill>
                <a:latin typeface="Times New Roman" panose="02020603050405020304" pitchFamily="18" charset="0"/>
                <a:cs typeface="Times New Roman" panose="02020603050405020304" pitchFamily="18" charset="0"/>
              </a:rPr>
              <a:t>.</a:t>
            </a:r>
          </a:p>
        </p:txBody>
      </p:sp>
      <p:sp>
        <p:nvSpPr>
          <p:cNvPr id="19" name="TextBox 18">
            <a:extLst>
              <a:ext uri="{FF2B5EF4-FFF2-40B4-BE49-F238E27FC236}">
                <a16:creationId xmlns:a16="http://schemas.microsoft.com/office/drawing/2014/main" id="{0419913A-1ED8-40D5-807C-D90F747FEEBA}"/>
              </a:ext>
            </a:extLst>
          </p:cNvPr>
          <p:cNvSpPr txBox="1"/>
          <p:nvPr/>
        </p:nvSpPr>
        <p:spPr>
          <a:xfrm>
            <a:off x="6126278" y="3154952"/>
            <a:ext cx="4341206" cy="1661993"/>
          </a:xfrm>
          <a:prstGeom prst="rect">
            <a:avLst/>
          </a:prstGeom>
          <a:noFill/>
        </p:spPr>
        <p:txBody>
          <a:bodyPr wrap="square" lIns="0" tIns="0" rIns="0" bIns="0" rtlCol="0">
            <a:spAutoFit/>
          </a:bodyPr>
          <a:lstStyle/>
          <a:p>
            <a:pPr algn="just">
              <a:spcBef>
                <a:spcPts val="600"/>
              </a:spcBef>
            </a:pPr>
            <a:r>
              <a:rPr lang="en-US" dirty="0" err="1">
                <a:solidFill>
                  <a:schemeClr val="bg1"/>
                </a:solidFill>
                <a:latin typeface="Times New Roman" panose="02020603050405020304" pitchFamily="18" charset="0"/>
                <a:cs typeface="Times New Roman" panose="02020603050405020304" pitchFamily="18" charset="0"/>
              </a:rPr>
              <a:t>Cải</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iệ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ă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ự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ủa</a:t>
            </a:r>
            <a:r>
              <a:rPr lang="en-US" dirty="0">
                <a:solidFill>
                  <a:schemeClr val="bg1"/>
                </a:solidFill>
                <a:latin typeface="Times New Roman" panose="02020603050405020304" pitchFamily="18" charset="0"/>
                <a:cs typeface="Times New Roman" panose="02020603050405020304" pitchFamily="18" charset="0"/>
              </a:rPr>
              <a:t> lao </a:t>
            </a:r>
            <a:r>
              <a:rPr lang="en-US" dirty="0" err="1">
                <a:solidFill>
                  <a:schemeClr val="bg1"/>
                </a:solidFill>
                <a:latin typeface="Times New Roman" panose="02020603050405020304" pitchFamily="18" charset="0"/>
                <a:cs typeface="Times New Roman" panose="02020603050405020304" pitchFamily="18" charset="0"/>
              </a:rPr>
              <a:t>độ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Xây</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dự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ín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sác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à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ạ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à</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ịc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àm</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iệ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inh</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hoạt</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ể</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ạ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iều</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kiệ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o</a:t>
            </a:r>
            <a:r>
              <a:rPr lang="en-US" dirty="0">
                <a:solidFill>
                  <a:schemeClr val="bg1"/>
                </a:solidFill>
                <a:latin typeface="Times New Roman" panose="02020603050405020304" pitchFamily="18" charset="0"/>
                <a:cs typeface="Times New Roman" panose="02020603050405020304" pitchFamily="18" charset="0"/>
              </a:rPr>
              <a:t> lao </a:t>
            </a:r>
            <a:r>
              <a:rPr lang="en-US" dirty="0" err="1">
                <a:solidFill>
                  <a:schemeClr val="bg1"/>
                </a:solidFill>
                <a:latin typeface="Times New Roman" panose="02020603050405020304" pitchFamily="18" charset="0"/>
                <a:cs typeface="Times New Roman" panose="02020603050405020304" pitchFamily="18" charset="0"/>
              </a:rPr>
              <a:t>độ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ham</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a</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ác</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khoá</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à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ạo</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ề</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uyê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mô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à</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quả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ý</a:t>
            </a:r>
            <a:r>
              <a:rPr lang="en-US" dirty="0">
                <a:solidFill>
                  <a:schemeClr val="bg1"/>
                </a:solidFill>
                <a:latin typeface="Times New Roman" panose="02020603050405020304" pitchFamily="18" charset="0"/>
                <a:cs typeface="Times New Roman" panose="02020603050405020304" pitchFamily="18" charset="0"/>
              </a:rPr>
              <a:t>: (i) 100% </a:t>
            </a:r>
            <a:r>
              <a:rPr lang="en-US" dirty="0" err="1">
                <a:solidFill>
                  <a:schemeClr val="bg1"/>
                </a:solidFill>
                <a:latin typeface="Times New Roman" panose="02020603050405020304" pitchFamily="18" charset="0"/>
                <a:cs typeface="Times New Roman" panose="02020603050405020304" pitchFamily="18" charset="0"/>
              </a:rPr>
              <a:t>phụ</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áp</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ứ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iêu</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uẩ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ông</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việc</a:t>
            </a:r>
            <a:r>
              <a:rPr lang="en-US" dirty="0">
                <a:solidFill>
                  <a:schemeClr val="bg1"/>
                </a:solidFill>
                <a:latin typeface="Times New Roman" panose="02020603050405020304" pitchFamily="18" charset="0"/>
                <a:cs typeface="Times New Roman" panose="02020603050405020304" pitchFamily="18" charset="0"/>
              </a:rPr>
              <a:t>; (ii) </a:t>
            </a:r>
            <a:r>
              <a:rPr lang="en-US" dirty="0" err="1">
                <a:solidFill>
                  <a:schemeClr val="bg1"/>
                </a:solidFill>
                <a:latin typeface="Times New Roman" panose="02020603050405020304" pitchFamily="18" charset="0"/>
                <a:cs typeface="Times New Roman" panose="02020603050405020304" pitchFamily="18" charset="0"/>
              </a:rPr>
              <a:t>tỷ</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lệ</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nữ</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chuyên</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gia</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đạt</a:t>
            </a:r>
            <a:r>
              <a:rPr lang="en-US" dirty="0">
                <a:solidFill>
                  <a:schemeClr val="bg1"/>
                </a:solidFill>
                <a:latin typeface="Times New Roman" panose="02020603050405020304" pitchFamily="18" charset="0"/>
                <a:cs typeface="Times New Roman" panose="02020603050405020304" pitchFamily="18" charset="0"/>
              </a:rPr>
              <a:t> </a:t>
            </a:r>
            <a:r>
              <a:rPr lang="en-US" dirty="0" err="1">
                <a:solidFill>
                  <a:schemeClr val="bg1"/>
                </a:solidFill>
                <a:latin typeface="Times New Roman" panose="02020603050405020304" pitchFamily="18" charset="0"/>
                <a:cs typeface="Times New Roman" panose="02020603050405020304" pitchFamily="18" charset="0"/>
              </a:rPr>
              <a:t>từ</a:t>
            </a:r>
            <a:r>
              <a:rPr lang="en-US" dirty="0">
                <a:solidFill>
                  <a:schemeClr val="bg1"/>
                </a:solidFill>
                <a:latin typeface="Times New Roman" panose="02020603050405020304" pitchFamily="18" charset="0"/>
                <a:cs typeface="Times New Roman" panose="02020603050405020304" pitchFamily="18" charset="0"/>
              </a:rPr>
              <a:t> </a:t>
            </a:r>
            <a:r>
              <a:rPr lang="en-US" b="1" dirty="0">
                <a:solidFill>
                  <a:schemeClr val="bg1"/>
                </a:solidFill>
                <a:latin typeface="Times New Roman" panose="02020603050405020304" pitchFamily="18" charset="0"/>
                <a:cs typeface="Times New Roman" panose="02020603050405020304" pitchFamily="18" charset="0"/>
              </a:rPr>
              <a:t>5-10%</a:t>
            </a:r>
          </a:p>
        </p:txBody>
      </p:sp>
      <p:sp>
        <p:nvSpPr>
          <p:cNvPr id="20" name="TextBox 19">
            <a:extLst>
              <a:ext uri="{FF2B5EF4-FFF2-40B4-BE49-F238E27FC236}">
                <a16:creationId xmlns:a16="http://schemas.microsoft.com/office/drawing/2014/main" id="{252C4A30-53B0-4D9E-BF71-C6FA4E9FD137}"/>
              </a:ext>
            </a:extLst>
          </p:cNvPr>
          <p:cNvSpPr txBox="1"/>
          <p:nvPr/>
        </p:nvSpPr>
        <p:spPr>
          <a:xfrm>
            <a:off x="6186409" y="5167958"/>
            <a:ext cx="4376353" cy="1107996"/>
          </a:xfrm>
          <a:prstGeom prst="rect">
            <a:avLst/>
          </a:prstGeom>
          <a:noFill/>
        </p:spPr>
        <p:txBody>
          <a:bodyPr wrap="square" lIns="0" tIns="0" rIns="0" bIns="0" rtlCol="0">
            <a:spAutoFit/>
          </a:bodyPr>
          <a:lstStyle/>
          <a:p>
            <a:pPr algn="just" defTabSz="1219170">
              <a:buClr>
                <a:srgbClr val="000000"/>
              </a:buClr>
            </a:pP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ăng</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ường</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sự</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ham</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gia</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ủa</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phụ</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nữ</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rong</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á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vị</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rí</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quản</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lý</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đề</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ra</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á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hỉ</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iêu</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ủa</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quản</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lý</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nữ</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ở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á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ấp</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ao</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hơn</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giai</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đoạn</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rướ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ại</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EVN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và</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cá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đơn</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vị</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rự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r>
              <a:rPr lang="en-US" kern="0" dirty="0" err="1">
                <a:solidFill>
                  <a:schemeClr val="bg1"/>
                </a:solidFill>
                <a:latin typeface="Times New Roman" panose="02020603050405020304" pitchFamily="18" charset="0"/>
                <a:ea typeface="Roboto"/>
                <a:cs typeface="Times New Roman" panose="02020603050405020304" pitchFamily="18" charset="0"/>
                <a:sym typeface="Roboto"/>
              </a:rPr>
              <a:t>thuộc</a:t>
            </a:r>
            <a:r>
              <a:rPr lang="en-US" kern="0" dirty="0">
                <a:solidFill>
                  <a:schemeClr val="bg1"/>
                </a:solidFill>
                <a:latin typeface="Times New Roman" panose="02020603050405020304" pitchFamily="18" charset="0"/>
                <a:ea typeface="Roboto"/>
                <a:cs typeface="Times New Roman" panose="02020603050405020304" pitchFamily="18" charset="0"/>
                <a:sym typeface="Roboto"/>
              </a:rPr>
              <a:t>. </a:t>
            </a:r>
          </a:p>
        </p:txBody>
      </p:sp>
    </p:spTree>
    <p:extLst>
      <p:ext uri="{BB962C8B-B14F-4D97-AF65-F5344CB8AC3E}">
        <p14:creationId xmlns:p14="http://schemas.microsoft.com/office/powerpoint/2010/main" val="578822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2" y="383581"/>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THU HÚT NHÂN TÀI</a:t>
            </a:r>
          </a:p>
        </p:txBody>
      </p:sp>
      <p:sp>
        <p:nvSpPr>
          <p:cNvPr id="27" name="Oval 26">
            <a:extLst>
              <a:ext uri="{FF2B5EF4-FFF2-40B4-BE49-F238E27FC236}">
                <a16:creationId xmlns:a16="http://schemas.microsoft.com/office/drawing/2014/main" id="{B8387C6F-5D69-487D-99BA-DF7B1413DDEE}"/>
              </a:ext>
            </a:extLst>
          </p:cNvPr>
          <p:cNvSpPr/>
          <p:nvPr/>
        </p:nvSpPr>
        <p:spPr>
          <a:xfrm>
            <a:off x="123283" y="2159209"/>
            <a:ext cx="792088" cy="792088"/>
          </a:xfrm>
          <a:prstGeom prst="ellipse">
            <a:avLst/>
          </a:prstGeom>
          <a:solidFill>
            <a:srgbClr val="F394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29" name="Oval 28">
            <a:extLst>
              <a:ext uri="{FF2B5EF4-FFF2-40B4-BE49-F238E27FC236}">
                <a16:creationId xmlns:a16="http://schemas.microsoft.com/office/drawing/2014/main" id="{A5C9F9E2-1F53-4A5F-91CA-501AE10B189B}"/>
              </a:ext>
            </a:extLst>
          </p:cNvPr>
          <p:cNvSpPr/>
          <p:nvPr/>
        </p:nvSpPr>
        <p:spPr>
          <a:xfrm>
            <a:off x="11318755" y="2178254"/>
            <a:ext cx="792088" cy="792088"/>
          </a:xfrm>
          <a:prstGeom prst="ellipse">
            <a:avLst/>
          </a:prstGeom>
          <a:solidFill>
            <a:srgbClr val="FAB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0" name="Oval 29">
            <a:extLst>
              <a:ext uri="{FF2B5EF4-FFF2-40B4-BE49-F238E27FC236}">
                <a16:creationId xmlns:a16="http://schemas.microsoft.com/office/drawing/2014/main" id="{E4706051-07EB-4FD4-82F8-7D64EF726DD5}"/>
              </a:ext>
            </a:extLst>
          </p:cNvPr>
          <p:cNvSpPr/>
          <p:nvPr/>
        </p:nvSpPr>
        <p:spPr>
          <a:xfrm>
            <a:off x="11318755" y="4962648"/>
            <a:ext cx="792088" cy="792088"/>
          </a:xfrm>
          <a:prstGeom prst="ellipse">
            <a:avLst/>
          </a:prstGeom>
          <a:solidFill>
            <a:srgbClr val="58B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1" name="Oval 30">
            <a:extLst>
              <a:ext uri="{FF2B5EF4-FFF2-40B4-BE49-F238E27FC236}">
                <a16:creationId xmlns:a16="http://schemas.microsoft.com/office/drawing/2014/main" id="{A70EFF3E-7DEC-4510-A52B-159E408E82E8}"/>
              </a:ext>
            </a:extLst>
          </p:cNvPr>
          <p:cNvSpPr/>
          <p:nvPr/>
        </p:nvSpPr>
        <p:spPr>
          <a:xfrm>
            <a:off x="122312" y="4962648"/>
            <a:ext cx="792088" cy="792088"/>
          </a:xfrm>
          <a:prstGeom prst="ellipse">
            <a:avLst/>
          </a:prstGeom>
          <a:solidFill>
            <a:srgbClr val="CE4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grpSp>
        <p:nvGrpSpPr>
          <p:cNvPr id="32" name="Group 31">
            <a:extLst>
              <a:ext uri="{FF2B5EF4-FFF2-40B4-BE49-F238E27FC236}">
                <a16:creationId xmlns:a16="http://schemas.microsoft.com/office/drawing/2014/main" id="{2DD91C12-DB9D-4DAC-8916-EC50234758A8}"/>
              </a:ext>
            </a:extLst>
          </p:cNvPr>
          <p:cNvGrpSpPr/>
          <p:nvPr/>
        </p:nvGrpSpPr>
        <p:grpSpPr>
          <a:xfrm>
            <a:off x="4144924" y="2268699"/>
            <a:ext cx="3372980" cy="3646239"/>
            <a:chOff x="2527882" y="1769366"/>
            <a:chExt cx="4068312" cy="4173038"/>
          </a:xfrm>
        </p:grpSpPr>
        <p:sp>
          <p:nvSpPr>
            <p:cNvPr id="33" name="Rectangle 8">
              <a:extLst>
                <a:ext uri="{FF2B5EF4-FFF2-40B4-BE49-F238E27FC236}">
                  <a16:creationId xmlns:a16="http://schemas.microsoft.com/office/drawing/2014/main" id="{896789A6-9959-4E25-9FB2-28C96A4CD11E}"/>
                </a:ext>
              </a:extLst>
            </p:cNvPr>
            <p:cNvSpPr/>
            <p:nvPr/>
          </p:nvSpPr>
          <p:spPr>
            <a:xfrm>
              <a:off x="2527882" y="3860800"/>
              <a:ext cx="2044119" cy="2024231"/>
            </a:xfrm>
            <a:custGeom>
              <a:avLst/>
              <a:gdLst/>
              <a:ahLst/>
              <a:cxnLst/>
              <a:rect l="l" t="t" r="r" b="b"/>
              <a:pathLst>
                <a:path w="2044119" h="2024231">
                  <a:moveTo>
                    <a:pt x="366464" y="0"/>
                  </a:moveTo>
                  <a:lnTo>
                    <a:pt x="556662" y="0"/>
                  </a:lnTo>
                  <a:cubicBezTo>
                    <a:pt x="561251" y="574041"/>
                    <a:pt x="908815" y="1117284"/>
                    <a:pt x="1480062" y="1349474"/>
                  </a:cubicBezTo>
                  <a:cubicBezTo>
                    <a:pt x="1664906" y="1424606"/>
                    <a:pt x="1856123" y="1460241"/>
                    <a:pt x="2044119" y="1459681"/>
                  </a:cubicBezTo>
                  <a:lnTo>
                    <a:pt x="2044119" y="1643731"/>
                  </a:lnTo>
                  <a:cubicBezTo>
                    <a:pt x="1976201" y="1643868"/>
                    <a:pt x="1907852" y="1639074"/>
                    <a:pt x="1839496" y="1629946"/>
                  </a:cubicBezTo>
                  <a:lnTo>
                    <a:pt x="1546504" y="2024231"/>
                  </a:lnTo>
                  <a:lnTo>
                    <a:pt x="955093" y="1783846"/>
                  </a:lnTo>
                  <a:lnTo>
                    <a:pt x="1025507" y="1299093"/>
                  </a:lnTo>
                  <a:cubicBezTo>
                    <a:pt x="905134" y="1209445"/>
                    <a:pt x="799404" y="1105116"/>
                    <a:pt x="713898" y="986746"/>
                  </a:cubicBezTo>
                  <a:lnTo>
                    <a:pt x="719682" y="1004573"/>
                  </a:lnTo>
                  <a:lnTo>
                    <a:pt x="195230" y="1037088"/>
                  </a:lnTo>
                  <a:lnTo>
                    <a:pt x="0" y="435261"/>
                  </a:lnTo>
                  <a:lnTo>
                    <a:pt x="381694" y="202150"/>
                  </a:lnTo>
                  <a:close/>
                </a:path>
              </a:pathLst>
            </a:custGeom>
            <a:solidFill>
              <a:srgbClr val="CE4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4" name="Oval 21">
              <a:extLst>
                <a:ext uri="{FF2B5EF4-FFF2-40B4-BE49-F238E27FC236}">
                  <a16:creationId xmlns:a16="http://schemas.microsoft.com/office/drawing/2014/main" id="{FDBEE8D9-A271-434F-B13E-2E84DF21968E}"/>
                </a:ext>
              </a:extLst>
            </p:cNvPr>
            <p:cNvSpPr/>
            <p:nvPr/>
          </p:nvSpPr>
          <p:spPr>
            <a:xfrm rot="437364">
              <a:off x="4621552" y="3784736"/>
              <a:ext cx="1916761" cy="2157668"/>
            </a:xfrm>
            <a:custGeom>
              <a:avLst/>
              <a:gdLst/>
              <a:ahLst/>
              <a:cxnLst/>
              <a:rect l="l" t="t" r="r" b="b"/>
              <a:pathLst>
                <a:path w="1916761" h="2157668">
                  <a:moveTo>
                    <a:pt x="1708415" y="144041"/>
                  </a:moveTo>
                  <a:lnTo>
                    <a:pt x="1725767" y="154715"/>
                  </a:lnTo>
                  <a:lnTo>
                    <a:pt x="1708415" y="150430"/>
                  </a:lnTo>
                  <a:close/>
                  <a:moveTo>
                    <a:pt x="1300025" y="24192"/>
                  </a:moveTo>
                  <a:lnTo>
                    <a:pt x="1489147" y="0"/>
                  </a:lnTo>
                  <a:cubicBezTo>
                    <a:pt x="1500273" y="82796"/>
                    <a:pt x="1504062" y="167059"/>
                    <a:pt x="1500308" y="252054"/>
                  </a:cubicBezTo>
                  <a:lnTo>
                    <a:pt x="1916761" y="480508"/>
                  </a:lnTo>
                  <a:lnTo>
                    <a:pt x="1751401" y="1090339"/>
                  </a:lnTo>
                  <a:lnTo>
                    <a:pt x="1246060" y="1081941"/>
                  </a:lnTo>
                  <a:cubicBezTo>
                    <a:pt x="1182167" y="1187433"/>
                    <a:pt x="1104758" y="1282578"/>
                    <a:pt x="1018020" y="1367515"/>
                  </a:cubicBezTo>
                  <a:lnTo>
                    <a:pt x="1183977" y="1795543"/>
                  </a:lnTo>
                  <a:lnTo>
                    <a:pt x="660625" y="2157668"/>
                  </a:lnTo>
                  <a:lnTo>
                    <a:pt x="452734" y="1979318"/>
                  </a:lnTo>
                  <a:lnTo>
                    <a:pt x="452343" y="1979754"/>
                  </a:lnTo>
                  <a:lnTo>
                    <a:pt x="407306" y="1940346"/>
                  </a:lnTo>
                  <a:lnTo>
                    <a:pt x="263664" y="1817114"/>
                  </a:lnTo>
                  <a:lnTo>
                    <a:pt x="265236" y="1816026"/>
                  </a:lnTo>
                  <a:lnTo>
                    <a:pt x="248277" y="1801186"/>
                  </a:lnTo>
                  <a:cubicBezTo>
                    <a:pt x="175016" y="1821669"/>
                    <a:pt x="99852" y="1836107"/>
                    <a:pt x="23294" y="1843500"/>
                  </a:cubicBezTo>
                  <a:lnTo>
                    <a:pt x="0" y="1661401"/>
                  </a:lnTo>
                  <a:cubicBezTo>
                    <a:pt x="586249" y="1594555"/>
                    <a:pt x="1099236" y="1182477"/>
                    <a:pt x="1261282" y="584868"/>
                  </a:cubicBezTo>
                  <a:cubicBezTo>
                    <a:pt x="1312404" y="396331"/>
                    <a:pt x="1323933" y="206529"/>
                    <a:pt x="1300025" y="24192"/>
                  </a:cubicBezTo>
                  <a:close/>
                </a:path>
              </a:pathLst>
            </a:custGeom>
            <a:solidFill>
              <a:srgbClr val="58B9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5" name="Oval 21">
              <a:extLst>
                <a:ext uri="{FF2B5EF4-FFF2-40B4-BE49-F238E27FC236}">
                  <a16:creationId xmlns:a16="http://schemas.microsoft.com/office/drawing/2014/main" id="{18A9931C-688E-4892-A72B-B2C2BE02FB7E}"/>
                </a:ext>
              </a:extLst>
            </p:cNvPr>
            <p:cNvSpPr/>
            <p:nvPr/>
          </p:nvSpPr>
          <p:spPr>
            <a:xfrm rot="437364">
              <a:off x="2587685" y="1769366"/>
              <a:ext cx="1903947" cy="2166804"/>
            </a:xfrm>
            <a:custGeom>
              <a:avLst/>
              <a:gdLst/>
              <a:ahLst/>
              <a:cxnLst/>
              <a:rect l="l" t="t" r="r" b="b"/>
              <a:pathLst>
                <a:path w="1903947" h="2166804">
                  <a:moveTo>
                    <a:pt x="1248722" y="0"/>
                  </a:moveTo>
                  <a:lnTo>
                    <a:pt x="1627097" y="360618"/>
                  </a:lnTo>
                  <a:lnTo>
                    <a:pt x="1623294" y="362966"/>
                  </a:lnTo>
                  <a:cubicBezTo>
                    <a:pt x="1706758" y="337014"/>
                    <a:pt x="1792834" y="318893"/>
                    <a:pt x="1880669" y="309126"/>
                  </a:cubicBezTo>
                  <a:lnTo>
                    <a:pt x="1903947" y="491102"/>
                  </a:lnTo>
                  <a:cubicBezTo>
                    <a:pt x="1322097" y="562522"/>
                    <a:pt x="814151" y="973268"/>
                    <a:pt x="653054" y="1567381"/>
                  </a:cubicBezTo>
                  <a:cubicBezTo>
                    <a:pt x="600572" y="1760932"/>
                    <a:pt x="589817" y="1955818"/>
                    <a:pt x="615630" y="2142672"/>
                  </a:cubicBezTo>
                  <a:lnTo>
                    <a:pt x="426969" y="2166804"/>
                  </a:lnTo>
                  <a:cubicBezTo>
                    <a:pt x="416234" y="2094458"/>
                    <a:pt x="410995" y="2020927"/>
                    <a:pt x="410980" y="1946726"/>
                  </a:cubicBezTo>
                  <a:lnTo>
                    <a:pt x="0" y="1721274"/>
                  </a:lnTo>
                  <a:lnTo>
                    <a:pt x="165358" y="1111442"/>
                  </a:lnTo>
                  <a:lnTo>
                    <a:pt x="636319" y="1119271"/>
                  </a:lnTo>
                  <a:cubicBezTo>
                    <a:pt x="700213" y="1007851"/>
                    <a:pt x="777366" y="906262"/>
                    <a:pt x="864645" y="815331"/>
                  </a:cubicBezTo>
                  <a:lnTo>
                    <a:pt x="706904" y="334563"/>
                  </a:lnTo>
                  <a:close/>
                </a:path>
              </a:pathLst>
            </a:custGeom>
            <a:solidFill>
              <a:srgbClr val="F394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6" name="Rectangle 15">
              <a:extLst>
                <a:ext uri="{FF2B5EF4-FFF2-40B4-BE49-F238E27FC236}">
                  <a16:creationId xmlns:a16="http://schemas.microsoft.com/office/drawing/2014/main" id="{84347C12-A6A7-4887-86EA-BAB4D20DBEAD}"/>
                </a:ext>
              </a:extLst>
            </p:cNvPr>
            <p:cNvSpPr/>
            <p:nvPr/>
          </p:nvSpPr>
          <p:spPr>
            <a:xfrm>
              <a:off x="4555381" y="1792645"/>
              <a:ext cx="2040813" cy="2068155"/>
            </a:xfrm>
            <a:custGeom>
              <a:avLst/>
              <a:gdLst/>
              <a:ahLst/>
              <a:cxnLst/>
              <a:rect l="l" t="t" r="r" b="b"/>
              <a:pathLst>
                <a:path w="2040813" h="2068155">
                  <a:moveTo>
                    <a:pt x="520053" y="0"/>
                  </a:moveTo>
                  <a:lnTo>
                    <a:pt x="1111462" y="240384"/>
                  </a:lnTo>
                  <a:lnTo>
                    <a:pt x="1036786" y="754460"/>
                  </a:lnTo>
                  <a:lnTo>
                    <a:pt x="1021317" y="748171"/>
                  </a:lnTo>
                  <a:cubicBezTo>
                    <a:pt x="1142506" y="837417"/>
                    <a:pt x="1249045" y="941474"/>
                    <a:pt x="1335290" y="1059739"/>
                  </a:cubicBezTo>
                  <a:lnTo>
                    <a:pt x="1814020" y="1005063"/>
                  </a:lnTo>
                  <a:lnTo>
                    <a:pt x="2040813" y="1596059"/>
                  </a:lnTo>
                  <a:lnTo>
                    <a:pt x="1672411" y="1848385"/>
                  </a:lnTo>
                  <a:cubicBezTo>
                    <a:pt x="1682906" y="1920885"/>
                    <a:pt x="1688379" y="1994315"/>
                    <a:pt x="1687912" y="2068155"/>
                  </a:cubicBezTo>
                  <a:lnTo>
                    <a:pt x="1497249" y="2068155"/>
                  </a:lnTo>
                  <a:cubicBezTo>
                    <a:pt x="1499106" y="1488724"/>
                    <a:pt x="1150503" y="938186"/>
                    <a:pt x="574393" y="704018"/>
                  </a:cubicBezTo>
                  <a:cubicBezTo>
                    <a:pt x="467666" y="660637"/>
                    <a:pt x="358815" y="630425"/>
                    <a:pt x="249685" y="612618"/>
                  </a:cubicBezTo>
                  <a:cubicBezTo>
                    <a:pt x="213308" y="606683"/>
                    <a:pt x="176901" y="602126"/>
                    <a:pt x="140531" y="598919"/>
                  </a:cubicBezTo>
                  <a:cubicBezTo>
                    <a:pt x="93574" y="594779"/>
                    <a:pt x="46680" y="592889"/>
                    <a:pt x="0" y="593905"/>
                  </a:cubicBezTo>
                  <a:lnTo>
                    <a:pt x="0" y="409496"/>
                  </a:lnTo>
                  <a:cubicBezTo>
                    <a:pt x="74584" y="408781"/>
                    <a:pt x="149703" y="413983"/>
                    <a:pt x="224810" y="424420"/>
                  </a:cubicBezTo>
                  <a:lnTo>
                    <a:pt x="209339" y="418133"/>
                  </a:lnTo>
                  <a:close/>
                </a:path>
              </a:pathLst>
            </a:custGeom>
            <a:solidFill>
              <a:srgbClr val="FAB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grpSp>
      <p:sp>
        <p:nvSpPr>
          <p:cNvPr id="48" name="TextBox 47">
            <a:extLst>
              <a:ext uri="{FF2B5EF4-FFF2-40B4-BE49-F238E27FC236}">
                <a16:creationId xmlns:a16="http://schemas.microsoft.com/office/drawing/2014/main" id="{0789DE62-944D-4550-8F76-BE74DB4118CB}"/>
              </a:ext>
            </a:extLst>
          </p:cNvPr>
          <p:cNvSpPr txBox="1"/>
          <p:nvPr/>
        </p:nvSpPr>
        <p:spPr>
          <a:xfrm>
            <a:off x="999909" y="4864700"/>
            <a:ext cx="3089650" cy="1323439"/>
          </a:xfrm>
          <a:prstGeom prst="rect">
            <a:avLst/>
          </a:prstGeom>
          <a:noFill/>
        </p:spPr>
        <p:txBody>
          <a:bodyPr wrap="square" rtlCol="0">
            <a:spAutoFit/>
          </a:bodyPr>
          <a:lstStyle/>
          <a:p>
            <a:pPr algn="just"/>
            <a:r>
              <a:rPr lang="en-US" altLang="ko-KR" sz="2000" dirty="0" err="1">
                <a:solidFill>
                  <a:srgbClr val="CE4D78"/>
                </a:solidFill>
                <a:latin typeface="Times New Roman" panose="02020603050405020304" pitchFamily="18" charset="0"/>
                <a:cs typeface="Times New Roman" panose="02020603050405020304" pitchFamily="18" charset="0"/>
              </a:rPr>
              <a:t>Nguồn</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lực</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lao</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động</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ngoài</a:t>
            </a:r>
            <a:r>
              <a:rPr lang="en-US" altLang="ko-KR" sz="2000" dirty="0">
                <a:solidFill>
                  <a:srgbClr val="CE4D78"/>
                </a:solidFill>
                <a:latin typeface="Times New Roman" panose="02020603050405020304" pitchFamily="18" charset="0"/>
                <a:cs typeface="Times New Roman" panose="02020603050405020304" pitchFamily="18" charset="0"/>
              </a:rPr>
              <a:t> EVN </a:t>
            </a:r>
            <a:r>
              <a:rPr lang="en-US" altLang="ko-KR" sz="2000" dirty="0" err="1">
                <a:solidFill>
                  <a:srgbClr val="CE4D78"/>
                </a:solidFill>
                <a:latin typeface="Times New Roman" panose="02020603050405020304" pitchFamily="18" charset="0"/>
                <a:cs typeface="Times New Roman" panose="02020603050405020304" pitchFamily="18" charset="0"/>
              </a:rPr>
              <a:t>không</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có</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thông</a:t>
            </a:r>
            <a:r>
              <a:rPr lang="en-US" altLang="ko-KR" sz="2000" dirty="0">
                <a:solidFill>
                  <a:srgbClr val="CE4D78"/>
                </a:solidFill>
                <a:latin typeface="Times New Roman" panose="02020603050405020304" pitchFamily="18" charset="0"/>
                <a:cs typeface="Times New Roman" panose="02020603050405020304" pitchFamily="18" charset="0"/>
              </a:rPr>
              <a:t> tin </a:t>
            </a:r>
            <a:r>
              <a:rPr lang="en-US" altLang="ko-KR" sz="2000" dirty="0" err="1">
                <a:solidFill>
                  <a:srgbClr val="CE4D78"/>
                </a:solidFill>
                <a:latin typeface="Times New Roman" panose="02020603050405020304" pitchFamily="18" charset="0"/>
                <a:cs typeface="Times New Roman" panose="02020603050405020304" pitchFamily="18" charset="0"/>
              </a:rPr>
              <a:t>về</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việc</a:t>
            </a:r>
            <a:r>
              <a:rPr lang="en-US" altLang="ko-KR" sz="2000" dirty="0">
                <a:solidFill>
                  <a:srgbClr val="CE4D78"/>
                </a:solidFill>
                <a:latin typeface="Times New Roman" panose="02020603050405020304" pitchFamily="18" charset="0"/>
                <a:cs typeface="Times New Roman" panose="02020603050405020304" pitchFamily="18" charset="0"/>
              </a:rPr>
              <a:t> EVN </a:t>
            </a:r>
            <a:r>
              <a:rPr lang="en-US" altLang="ko-KR" sz="2000" dirty="0" err="1">
                <a:solidFill>
                  <a:srgbClr val="CE4D78"/>
                </a:solidFill>
                <a:latin typeface="Times New Roman" panose="02020603050405020304" pitchFamily="18" charset="0"/>
                <a:cs typeface="Times New Roman" panose="02020603050405020304" pitchFamily="18" charset="0"/>
              </a:rPr>
              <a:t>cần</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lao</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động</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nữ</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có</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năng</a:t>
            </a:r>
            <a:r>
              <a:rPr lang="en-US" altLang="ko-KR" sz="2000" dirty="0">
                <a:solidFill>
                  <a:srgbClr val="CE4D78"/>
                </a:solidFill>
                <a:latin typeface="Times New Roman" panose="02020603050405020304" pitchFamily="18" charset="0"/>
                <a:cs typeface="Times New Roman" panose="02020603050405020304" pitchFamily="18" charset="0"/>
              </a:rPr>
              <a:t> </a:t>
            </a:r>
            <a:r>
              <a:rPr lang="en-US" altLang="ko-KR" sz="2000" dirty="0" err="1">
                <a:solidFill>
                  <a:srgbClr val="CE4D78"/>
                </a:solidFill>
                <a:latin typeface="Times New Roman" panose="02020603050405020304" pitchFamily="18" charset="0"/>
                <a:cs typeface="Times New Roman" panose="02020603050405020304" pitchFamily="18" charset="0"/>
              </a:rPr>
              <a:t>lực</a:t>
            </a:r>
            <a:r>
              <a:rPr lang="en-US" altLang="ko-KR" sz="2000" dirty="0">
                <a:solidFill>
                  <a:srgbClr val="CE4D78"/>
                </a:solidFill>
                <a:latin typeface="Times New Roman" panose="02020603050405020304" pitchFamily="18" charset="0"/>
                <a:cs typeface="Times New Roman" panose="02020603050405020304" pitchFamily="18" charset="0"/>
              </a:rPr>
              <a:t>.</a:t>
            </a:r>
            <a:endParaRPr lang="ko-KR" altLang="en-US" sz="2000" dirty="0">
              <a:solidFill>
                <a:srgbClr val="CE4D78"/>
              </a:solidFill>
              <a:latin typeface="Times New Roman" panose="02020603050405020304" pitchFamily="18" charset="0"/>
              <a:cs typeface="Times New Roman" panose="02020603050405020304" pitchFamily="18" charset="0"/>
            </a:endParaRPr>
          </a:p>
        </p:txBody>
      </p:sp>
      <p:sp>
        <p:nvSpPr>
          <p:cNvPr id="51" name="TextBox 50">
            <a:extLst>
              <a:ext uri="{FF2B5EF4-FFF2-40B4-BE49-F238E27FC236}">
                <a16:creationId xmlns:a16="http://schemas.microsoft.com/office/drawing/2014/main" id="{D1CC83DD-FC20-464F-89A7-FF3D55B10BD7}"/>
              </a:ext>
            </a:extLst>
          </p:cNvPr>
          <p:cNvSpPr txBox="1"/>
          <p:nvPr/>
        </p:nvSpPr>
        <p:spPr>
          <a:xfrm>
            <a:off x="7761438" y="4621762"/>
            <a:ext cx="3530373" cy="1631216"/>
          </a:xfrm>
          <a:prstGeom prst="rect">
            <a:avLst/>
          </a:prstGeom>
          <a:noFill/>
        </p:spPr>
        <p:txBody>
          <a:bodyPr wrap="square" rtlCol="0">
            <a:spAutoFit/>
          </a:bodyPr>
          <a:lstStyle/>
          <a:p>
            <a:pPr algn="just"/>
            <a:r>
              <a:rPr lang="en-US" altLang="ko-KR" sz="2000" dirty="0" err="1">
                <a:solidFill>
                  <a:srgbClr val="58B9D2"/>
                </a:solidFill>
                <a:latin typeface="Times New Roman" panose="02020603050405020304" pitchFamily="18" charset="0"/>
                <a:cs typeface="Times New Roman" panose="02020603050405020304" pitchFamily="18" charset="0"/>
              </a:rPr>
              <a:t>Công</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bố</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thông</a:t>
            </a:r>
            <a:r>
              <a:rPr lang="en-US" altLang="ko-KR" sz="2000" dirty="0">
                <a:solidFill>
                  <a:srgbClr val="58B9D2"/>
                </a:solidFill>
                <a:latin typeface="Times New Roman" panose="02020603050405020304" pitchFamily="18" charset="0"/>
                <a:cs typeface="Times New Roman" panose="02020603050405020304" pitchFamily="18" charset="0"/>
              </a:rPr>
              <a:t> tin </a:t>
            </a:r>
            <a:r>
              <a:rPr lang="en-US" altLang="ko-KR" sz="2000" dirty="0" err="1">
                <a:solidFill>
                  <a:srgbClr val="58B9D2"/>
                </a:solidFill>
                <a:latin typeface="Times New Roman" panose="02020603050405020304" pitchFamily="18" charset="0"/>
                <a:cs typeface="Times New Roman" panose="02020603050405020304" pitchFamily="18" charset="0"/>
              </a:rPr>
              <a:t>rộng</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rã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đến</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các</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trường</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đạ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học</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và</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Hộ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chợ</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lao</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động</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về</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chỉ</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tiêu</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tuyển</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dụng</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của</a:t>
            </a:r>
            <a:r>
              <a:rPr lang="en-US" altLang="ko-KR" sz="2000" dirty="0">
                <a:solidFill>
                  <a:srgbClr val="58B9D2"/>
                </a:solidFill>
                <a:latin typeface="Times New Roman" panose="02020603050405020304" pitchFamily="18" charset="0"/>
                <a:cs typeface="Times New Roman" panose="02020603050405020304" pitchFamily="18" charset="0"/>
              </a:rPr>
              <a:t> EVN: </a:t>
            </a:r>
            <a:r>
              <a:rPr lang="en-US" altLang="ko-KR" sz="2000" dirty="0" err="1">
                <a:solidFill>
                  <a:srgbClr val="58B9D2"/>
                </a:solidFill>
                <a:latin typeface="Times New Roman" panose="02020603050405020304" pitchFamily="18" charset="0"/>
                <a:cs typeface="Times New Roman" panose="02020603050405020304" pitchFamily="18" charset="0"/>
              </a:rPr>
              <a:t>tố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thiểu</a:t>
            </a:r>
            <a:r>
              <a:rPr lang="en-US" altLang="ko-KR" sz="2000" dirty="0">
                <a:solidFill>
                  <a:srgbClr val="58B9D2"/>
                </a:solidFill>
                <a:latin typeface="Times New Roman" panose="02020603050405020304" pitchFamily="18" charset="0"/>
                <a:cs typeface="Times New Roman" panose="02020603050405020304" pitchFamily="18" charset="0"/>
              </a:rPr>
              <a:t> 20-25% </a:t>
            </a:r>
            <a:r>
              <a:rPr lang="en-US" altLang="ko-KR" sz="2000" dirty="0" err="1">
                <a:solidFill>
                  <a:srgbClr val="58B9D2"/>
                </a:solidFill>
                <a:latin typeface="Times New Roman" panose="02020603050405020304" pitchFamily="18" charset="0"/>
                <a:cs typeface="Times New Roman" panose="02020603050405020304" pitchFamily="18" charset="0"/>
              </a:rPr>
              <a:t>đố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với</a:t>
            </a:r>
            <a:r>
              <a:rPr lang="en-US" altLang="ko-KR" sz="2000" dirty="0">
                <a:solidFill>
                  <a:srgbClr val="58B9D2"/>
                </a:solidFill>
                <a:latin typeface="Times New Roman" panose="02020603050405020304" pitchFamily="18" charset="0"/>
                <a:cs typeface="Times New Roman" panose="02020603050405020304" pitchFamily="18" charset="0"/>
              </a:rPr>
              <a:t> </a:t>
            </a:r>
            <a:r>
              <a:rPr lang="en-US" altLang="ko-KR" sz="2000" dirty="0" err="1">
                <a:solidFill>
                  <a:srgbClr val="58B9D2"/>
                </a:solidFill>
                <a:latin typeface="Times New Roman" panose="02020603050405020304" pitchFamily="18" charset="0"/>
                <a:cs typeface="Times New Roman" panose="02020603050405020304" pitchFamily="18" charset="0"/>
              </a:rPr>
              <a:t>nữ</a:t>
            </a:r>
            <a:r>
              <a:rPr lang="en-US" altLang="ko-KR" sz="2000" dirty="0">
                <a:solidFill>
                  <a:srgbClr val="58B9D2"/>
                </a:solidFill>
                <a:latin typeface="Times New Roman" panose="02020603050405020304" pitchFamily="18" charset="0"/>
                <a:cs typeface="Times New Roman" panose="02020603050405020304" pitchFamily="18" charset="0"/>
              </a:rPr>
              <a:t>. </a:t>
            </a:r>
            <a:endParaRPr lang="ko-KR" altLang="en-US" sz="2000" dirty="0">
              <a:solidFill>
                <a:srgbClr val="58B9D2"/>
              </a:solidFill>
              <a:latin typeface="Times New Roman" panose="02020603050405020304" pitchFamily="18" charset="0"/>
              <a:cs typeface="Times New Roman" panose="02020603050405020304" pitchFamily="18" charset="0"/>
            </a:endParaRPr>
          </a:p>
        </p:txBody>
      </p:sp>
      <p:sp>
        <p:nvSpPr>
          <p:cNvPr id="54" name="TextBox 53">
            <a:extLst>
              <a:ext uri="{FF2B5EF4-FFF2-40B4-BE49-F238E27FC236}">
                <a16:creationId xmlns:a16="http://schemas.microsoft.com/office/drawing/2014/main" id="{4435384E-A939-4D7B-8D2D-0AFA71B0CE2B}"/>
              </a:ext>
            </a:extLst>
          </p:cNvPr>
          <p:cNvSpPr txBox="1"/>
          <p:nvPr/>
        </p:nvSpPr>
        <p:spPr>
          <a:xfrm>
            <a:off x="7720134" y="1687330"/>
            <a:ext cx="3559682" cy="1938992"/>
          </a:xfrm>
          <a:prstGeom prst="rect">
            <a:avLst/>
          </a:prstGeom>
          <a:noFill/>
        </p:spPr>
        <p:txBody>
          <a:bodyPr wrap="square" rtlCol="0">
            <a:spAutoFit/>
          </a:bodyPr>
          <a:lstStyle/>
          <a:p>
            <a:pPr algn="just"/>
            <a:r>
              <a:rPr lang="en-US" altLang="ko-KR" sz="2000" dirty="0">
                <a:solidFill>
                  <a:srgbClr val="FAB847"/>
                </a:solidFill>
                <a:latin typeface="Times New Roman" panose="02020603050405020304" pitchFamily="18" charset="0"/>
                <a:cs typeface="Times New Roman" panose="02020603050405020304" pitchFamily="18" charset="0"/>
              </a:rPr>
              <a:t>Thu </a:t>
            </a:r>
            <a:r>
              <a:rPr lang="en-US" altLang="ko-KR" sz="2000" dirty="0" err="1">
                <a:solidFill>
                  <a:srgbClr val="FAB847"/>
                </a:solidFill>
                <a:latin typeface="Times New Roman" panose="02020603050405020304" pitchFamily="18" charset="0"/>
                <a:cs typeface="Times New Roman" panose="02020603050405020304" pitchFamily="18" charset="0"/>
              </a:rPr>
              <a:t>hút</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sinh</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viên</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nữ</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ừ</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cá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rườ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đại</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họ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hông</a:t>
            </a:r>
            <a:r>
              <a:rPr lang="en-US" altLang="ko-KR" sz="2000" dirty="0">
                <a:solidFill>
                  <a:srgbClr val="FAB847"/>
                </a:solidFill>
                <a:latin typeface="Times New Roman" panose="02020603050405020304" pitchFamily="18" charset="0"/>
                <a:cs typeface="Times New Roman" panose="02020603050405020304" pitchFamily="18" charset="0"/>
              </a:rPr>
              <a:t> qua </a:t>
            </a:r>
            <a:r>
              <a:rPr lang="en-US" altLang="ko-KR" sz="2000" dirty="0" err="1">
                <a:solidFill>
                  <a:srgbClr val="FAB847"/>
                </a:solidFill>
                <a:latin typeface="Times New Roman" panose="02020603050405020304" pitchFamily="18" charset="0"/>
                <a:cs typeface="Times New Roman" panose="02020603050405020304" pitchFamily="18" charset="0"/>
              </a:rPr>
              <a:t>cá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chính</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sách</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về</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họ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bổ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hự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ập</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có</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hưở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lươ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cá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cuộ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hi</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sá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ạo</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đặ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biệt</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rong</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lĩnh</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vực</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kỹ</a:t>
            </a:r>
            <a:r>
              <a:rPr lang="en-US" altLang="ko-KR" sz="2000" dirty="0">
                <a:solidFill>
                  <a:srgbClr val="FAB847"/>
                </a:solidFill>
                <a:latin typeface="Times New Roman" panose="02020603050405020304" pitchFamily="18" charset="0"/>
                <a:cs typeface="Times New Roman" panose="02020603050405020304" pitchFamily="18" charset="0"/>
              </a:rPr>
              <a:t> </a:t>
            </a:r>
            <a:r>
              <a:rPr lang="en-US" altLang="ko-KR" sz="2000" dirty="0" err="1">
                <a:solidFill>
                  <a:srgbClr val="FAB847"/>
                </a:solidFill>
                <a:latin typeface="Times New Roman" panose="02020603050405020304" pitchFamily="18" charset="0"/>
                <a:cs typeface="Times New Roman" panose="02020603050405020304" pitchFamily="18" charset="0"/>
              </a:rPr>
              <a:t>thuật</a:t>
            </a:r>
            <a:r>
              <a:rPr lang="en-US" altLang="ko-KR" sz="2000" dirty="0">
                <a:solidFill>
                  <a:srgbClr val="FAB847"/>
                </a:solidFill>
                <a:latin typeface="Times New Roman" panose="02020603050405020304" pitchFamily="18" charset="0"/>
                <a:cs typeface="Times New Roman" panose="02020603050405020304" pitchFamily="18" charset="0"/>
              </a:rPr>
              <a:t>.</a:t>
            </a:r>
          </a:p>
        </p:txBody>
      </p:sp>
      <p:sp>
        <p:nvSpPr>
          <p:cNvPr id="57" name="TextBox 56">
            <a:extLst>
              <a:ext uri="{FF2B5EF4-FFF2-40B4-BE49-F238E27FC236}">
                <a16:creationId xmlns:a16="http://schemas.microsoft.com/office/drawing/2014/main" id="{8B94A8E4-6A0E-4A84-AC99-C72B9EC9CE17}"/>
              </a:ext>
            </a:extLst>
          </p:cNvPr>
          <p:cNvSpPr txBox="1"/>
          <p:nvPr/>
        </p:nvSpPr>
        <p:spPr>
          <a:xfrm>
            <a:off x="986720" y="1785569"/>
            <a:ext cx="3089650" cy="707886"/>
          </a:xfrm>
          <a:prstGeom prst="rect">
            <a:avLst/>
          </a:prstGeom>
          <a:noFill/>
        </p:spPr>
        <p:txBody>
          <a:bodyPr wrap="square" rtlCol="0">
            <a:spAutoFit/>
          </a:bodyPr>
          <a:lstStyle/>
          <a:p>
            <a:pPr algn="just"/>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Chưa</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có</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kế</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hoạch</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thu</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hút</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nhân</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tài</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r>
              <a:rPr lang="en-US" altLang="ko-KR" sz="2000" dirty="0" err="1">
                <a:solidFill>
                  <a:schemeClr val="accent4">
                    <a:lumMod val="75000"/>
                  </a:schemeClr>
                </a:solidFill>
                <a:latin typeface="Times New Roman" panose="02020603050405020304" pitchFamily="18" charset="0"/>
                <a:cs typeface="Times New Roman" panose="02020603050405020304" pitchFamily="18" charset="0"/>
              </a:rPr>
              <a:t>nữ</a:t>
            </a:r>
            <a:r>
              <a:rPr lang="en-US" altLang="ko-KR" sz="2000" dirty="0">
                <a:solidFill>
                  <a:schemeClr val="accent4">
                    <a:lumMod val="75000"/>
                  </a:schemeClr>
                </a:solidFill>
                <a:latin typeface="Times New Roman" panose="02020603050405020304" pitchFamily="18" charset="0"/>
                <a:cs typeface="Times New Roman" panose="02020603050405020304" pitchFamily="18" charset="0"/>
              </a:rPr>
              <a:t>.  </a:t>
            </a:r>
          </a:p>
        </p:txBody>
      </p:sp>
      <p:sp>
        <p:nvSpPr>
          <p:cNvPr id="59" name="Donut 2">
            <a:extLst>
              <a:ext uri="{FF2B5EF4-FFF2-40B4-BE49-F238E27FC236}">
                <a16:creationId xmlns:a16="http://schemas.microsoft.com/office/drawing/2014/main" id="{467E3A4D-C8A5-4BC9-9BCD-F05683E37BCB}"/>
              </a:ext>
            </a:extLst>
          </p:cNvPr>
          <p:cNvSpPr/>
          <p:nvPr/>
        </p:nvSpPr>
        <p:spPr>
          <a:xfrm>
            <a:off x="4697896" y="2946102"/>
            <a:ext cx="2241949" cy="2267230"/>
          </a:xfrm>
          <a:prstGeom prst="donut">
            <a:avLst>
              <a:gd name="adj" fmla="val 38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solidFill>
                <a:schemeClr val="tx1"/>
              </a:solidFill>
              <a:latin typeface="Times New Roman" panose="02020603050405020304" pitchFamily="18" charset="0"/>
              <a:cs typeface="Times New Roman" panose="02020603050405020304" pitchFamily="18" charset="0"/>
            </a:endParaRPr>
          </a:p>
        </p:txBody>
      </p:sp>
      <p:sp>
        <p:nvSpPr>
          <p:cNvPr id="60" name="Rounded Rectangle 5">
            <a:extLst>
              <a:ext uri="{FF2B5EF4-FFF2-40B4-BE49-F238E27FC236}">
                <a16:creationId xmlns:a16="http://schemas.microsoft.com/office/drawing/2014/main" id="{BEA4F119-CB7A-4449-B10F-D67821D10378}"/>
              </a:ext>
            </a:extLst>
          </p:cNvPr>
          <p:cNvSpPr/>
          <p:nvPr/>
        </p:nvSpPr>
        <p:spPr>
          <a:xfrm flipH="1">
            <a:off x="332221" y="5203306"/>
            <a:ext cx="391682" cy="323114"/>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61" name="Teardrop 1">
            <a:extLst>
              <a:ext uri="{FF2B5EF4-FFF2-40B4-BE49-F238E27FC236}">
                <a16:creationId xmlns:a16="http://schemas.microsoft.com/office/drawing/2014/main" id="{14CACC14-C1FD-45FE-93A3-F4708473A9AB}"/>
              </a:ext>
            </a:extLst>
          </p:cNvPr>
          <p:cNvSpPr/>
          <p:nvPr/>
        </p:nvSpPr>
        <p:spPr>
          <a:xfrm rot="18805991">
            <a:off x="338394" y="2380341"/>
            <a:ext cx="376862" cy="372930"/>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solidFill>
                <a:schemeClr val="tx1"/>
              </a:solidFill>
              <a:latin typeface="Times New Roman" panose="02020603050405020304" pitchFamily="18" charset="0"/>
              <a:cs typeface="Times New Roman" panose="02020603050405020304" pitchFamily="18" charset="0"/>
            </a:endParaRPr>
          </a:p>
        </p:txBody>
      </p:sp>
      <p:sp>
        <p:nvSpPr>
          <p:cNvPr id="62" name="Rectangle 36">
            <a:extLst>
              <a:ext uri="{FF2B5EF4-FFF2-40B4-BE49-F238E27FC236}">
                <a16:creationId xmlns:a16="http://schemas.microsoft.com/office/drawing/2014/main" id="{F868D96E-30D2-4978-9A56-34750AEB1B1B}"/>
              </a:ext>
            </a:extLst>
          </p:cNvPr>
          <p:cNvSpPr/>
          <p:nvPr/>
        </p:nvSpPr>
        <p:spPr>
          <a:xfrm>
            <a:off x="11520985" y="2418154"/>
            <a:ext cx="389370" cy="325482"/>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63" name="Chord 15">
            <a:extLst>
              <a:ext uri="{FF2B5EF4-FFF2-40B4-BE49-F238E27FC236}">
                <a16:creationId xmlns:a16="http://schemas.microsoft.com/office/drawing/2014/main" id="{04A22064-6A26-4062-A701-EB412AB25204}"/>
              </a:ext>
            </a:extLst>
          </p:cNvPr>
          <p:cNvSpPr/>
          <p:nvPr/>
        </p:nvSpPr>
        <p:spPr>
          <a:xfrm>
            <a:off x="11615237" y="5164244"/>
            <a:ext cx="199125" cy="434146"/>
          </a:xfrm>
          <a:custGeom>
            <a:avLst/>
            <a:gdLst/>
            <a:ahLst/>
            <a:cxnLst/>
            <a:rect l="l" t="t" r="r" b="b"/>
            <a:pathLst>
              <a:path w="1492970" h="3255081">
                <a:moveTo>
                  <a:pt x="1492970" y="1569688"/>
                </a:moveTo>
                <a:cubicBezTo>
                  <a:pt x="1492970" y="1957118"/>
                  <a:pt x="1197680" y="2277765"/>
                  <a:pt x="816277" y="2310957"/>
                </a:cubicBezTo>
                <a:lnTo>
                  <a:pt x="816277" y="2787043"/>
                </a:lnTo>
                <a:cubicBezTo>
                  <a:pt x="873982" y="2789209"/>
                  <a:pt x="931009" y="2798017"/>
                  <a:pt x="986081" y="2811674"/>
                </a:cubicBezTo>
                <a:cubicBezTo>
                  <a:pt x="1252919" y="2877847"/>
                  <a:pt x="1430830" y="3046369"/>
                  <a:pt x="1433593" y="3235566"/>
                </a:cubicBezTo>
                <a:lnTo>
                  <a:pt x="57488" y="3255081"/>
                </a:lnTo>
                <a:cubicBezTo>
                  <a:pt x="47920" y="3062506"/>
                  <a:pt x="221127" y="2886615"/>
                  <a:pt x="490574" y="2815284"/>
                </a:cubicBezTo>
                <a:cubicBezTo>
                  <a:pt x="549928" y="2799571"/>
                  <a:pt x="611777" y="2789553"/>
                  <a:pt x="674460" y="2787163"/>
                </a:cubicBezTo>
                <a:lnTo>
                  <a:pt x="674460" y="2310809"/>
                </a:lnTo>
                <a:cubicBezTo>
                  <a:pt x="317470" y="2280245"/>
                  <a:pt x="28405" y="1994114"/>
                  <a:pt x="0" y="1627428"/>
                </a:cubicBezTo>
                <a:lnTo>
                  <a:pt x="142201" y="1616413"/>
                </a:lnTo>
                <a:cubicBezTo>
                  <a:pt x="167304" y="1940464"/>
                  <a:pt x="443969" y="2186771"/>
                  <a:pt x="768748" y="2174211"/>
                </a:cubicBezTo>
                <a:cubicBezTo>
                  <a:pt x="1093527" y="2161650"/>
                  <a:pt x="1350342" y="1894710"/>
                  <a:pt x="1350342" y="1569689"/>
                </a:cubicBezTo>
                <a:close/>
                <a:moveTo>
                  <a:pt x="745368" y="0"/>
                </a:moveTo>
                <a:cubicBezTo>
                  <a:pt x="989132" y="0"/>
                  <a:pt x="1186742" y="197610"/>
                  <a:pt x="1186742" y="441374"/>
                </a:cubicBezTo>
                <a:lnTo>
                  <a:pt x="1186742" y="1575353"/>
                </a:lnTo>
                <a:cubicBezTo>
                  <a:pt x="1186742" y="1819117"/>
                  <a:pt x="989132" y="2016727"/>
                  <a:pt x="745368" y="2016727"/>
                </a:cubicBezTo>
                <a:cubicBezTo>
                  <a:pt x="501604" y="2016727"/>
                  <a:pt x="303994" y="1819117"/>
                  <a:pt x="303994" y="1575353"/>
                </a:cubicBezTo>
                <a:lnTo>
                  <a:pt x="303994" y="441374"/>
                </a:lnTo>
                <a:cubicBezTo>
                  <a:pt x="303994" y="197610"/>
                  <a:pt x="501604" y="0"/>
                  <a:pt x="74536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pic>
        <p:nvPicPr>
          <p:cNvPr id="68" name="Picture 2" descr="D:\backup07102013\o dia D\O D xin\logo EVN.jpg">
            <a:extLst>
              <a:ext uri="{FF2B5EF4-FFF2-40B4-BE49-F238E27FC236}">
                <a16:creationId xmlns:a16="http://schemas.microsoft.com/office/drawing/2014/main" id="{80008957-88CC-461D-9B26-B343BE23BA0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5142312" y="3315806"/>
            <a:ext cx="1314484" cy="13502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 name="Google Shape;761;p31">
            <a:extLst>
              <a:ext uri="{FF2B5EF4-FFF2-40B4-BE49-F238E27FC236}">
                <a16:creationId xmlns:a16="http://schemas.microsoft.com/office/drawing/2014/main" id="{678CDBCE-2479-4E6F-B638-AE37B22B7D91}"/>
              </a:ext>
            </a:extLst>
          </p:cNvPr>
          <p:cNvGrpSpPr/>
          <p:nvPr/>
        </p:nvGrpSpPr>
        <p:grpSpPr>
          <a:xfrm>
            <a:off x="2485533" y="1370100"/>
            <a:ext cx="3508867" cy="310000"/>
            <a:chOff x="1864150" y="1230050"/>
            <a:chExt cx="2631650" cy="232500"/>
          </a:xfrm>
        </p:grpSpPr>
        <p:sp>
          <p:nvSpPr>
            <p:cNvPr id="46" name="Google Shape;762;p31">
              <a:extLst>
                <a:ext uri="{FF2B5EF4-FFF2-40B4-BE49-F238E27FC236}">
                  <a16:creationId xmlns:a16="http://schemas.microsoft.com/office/drawing/2014/main" id="{6FAFD956-D17E-4A97-9654-9E3BF8CE5F95}"/>
                </a:ext>
              </a:extLst>
            </p:cNvPr>
            <p:cNvSpPr txBox="1"/>
            <p:nvPr/>
          </p:nvSpPr>
          <p:spPr>
            <a:xfrm>
              <a:off x="3150000" y="1230050"/>
              <a:ext cx="1345800" cy="232500"/>
            </a:xfrm>
            <a:prstGeom prst="rect">
              <a:avLst/>
            </a:prstGeom>
            <a:noFill/>
            <a:ln>
              <a:noFill/>
            </a:ln>
          </p:spPr>
          <p:txBody>
            <a:bodyPr spcFirstLastPara="1" wrap="square" lIns="121900" tIns="121900" rIns="121900" bIns="121900" anchor="ctr" anchorCtr="0">
              <a:noAutofit/>
            </a:bodyPr>
            <a:lstStyle/>
            <a:p>
              <a:pPr marL="0" marR="0" lvl="0" indent="0" algn="r"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rPr>
                <a:t>2016-2020</a:t>
              </a:r>
              <a:endParaRPr kumimoji="0"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47" name="Google Shape;763;p31">
              <a:extLst>
                <a:ext uri="{FF2B5EF4-FFF2-40B4-BE49-F238E27FC236}">
                  <a16:creationId xmlns:a16="http://schemas.microsoft.com/office/drawing/2014/main" id="{CC44C34D-B530-4C5E-BFAA-798BAD8CBA5D}"/>
                </a:ext>
              </a:extLst>
            </p:cNvPr>
            <p:cNvCxnSpPr/>
            <p:nvPr/>
          </p:nvCxnSpPr>
          <p:spPr>
            <a:xfrm rot="10800000">
              <a:off x="1864150" y="1361725"/>
              <a:ext cx="1484100" cy="0"/>
            </a:xfrm>
            <a:prstGeom prst="straightConnector1">
              <a:avLst/>
            </a:prstGeom>
            <a:noFill/>
            <a:ln w="19050" cap="flat" cmpd="sng">
              <a:solidFill>
                <a:srgbClr val="CE4D78"/>
              </a:solidFill>
              <a:prstDash val="solid"/>
              <a:round/>
              <a:headEnd type="none" w="med" len="med"/>
              <a:tailEnd type="triangle" w="med" len="med"/>
            </a:ln>
          </p:spPr>
        </p:cxnSp>
      </p:grpSp>
      <p:grpSp>
        <p:nvGrpSpPr>
          <p:cNvPr id="49" name="Google Shape;764;p31">
            <a:extLst>
              <a:ext uri="{FF2B5EF4-FFF2-40B4-BE49-F238E27FC236}">
                <a16:creationId xmlns:a16="http://schemas.microsoft.com/office/drawing/2014/main" id="{4C006629-125F-4D20-8B51-7C553F2E4805}"/>
              </a:ext>
            </a:extLst>
          </p:cNvPr>
          <p:cNvGrpSpPr/>
          <p:nvPr/>
        </p:nvGrpSpPr>
        <p:grpSpPr>
          <a:xfrm>
            <a:off x="6207000" y="1370100"/>
            <a:ext cx="3574438" cy="310000"/>
            <a:chOff x="4655250" y="1230050"/>
            <a:chExt cx="2680829" cy="232500"/>
          </a:xfrm>
        </p:grpSpPr>
        <p:sp>
          <p:nvSpPr>
            <p:cNvPr id="50" name="Google Shape;765;p31">
              <a:extLst>
                <a:ext uri="{FF2B5EF4-FFF2-40B4-BE49-F238E27FC236}">
                  <a16:creationId xmlns:a16="http://schemas.microsoft.com/office/drawing/2014/main" id="{535B115D-0483-4039-B7D4-173C2127CB7F}"/>
                </a:ext>
              </a:extLst>
            </p:cNvPr>
            <p:cNvSpPr txBox="1"/>
            <p:nvPr/>
          </p:nvSpPr>
          <p:spPr>
            <a:xfrm>
              <a:off x="4655250" y="1230050"/>
              <a:ext cx="1345800" cy="232500"/>
            </a:xfrm>
            <a:prstGeom prst="rect">
              <a:avLst/>
            </a:prstGeom>
            <a:no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rPr>
                <a:t>2021-2025</a:t>
              </a:r>
              <a:endParaRPr kumimoji="0"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52" name="Google Shape;766;p31">
              <a:extLst>
                <a:ext uri="{FF2B5EF4-FFF2-40B4-BE49-F238E27FC236}">
                  <a16:creationId xmlns:a16="http://schemas.microsoft.com/office/drawing/2014/main" id="{9AD88697-67FA-4467-B15D-896ECB172219}"/>
                </a:ext>
              </a:extLst>
            </p:cNvPr>
            <p:cNvCxnSpPr/>
            <p:nvPr/>
          </p:nvCxnSpPr>
          <p:spPr>
            <a:xfrm>
              <a:off x="5821079" y="1361725"/>
              <a:ext cx="1515000" cy="0"/>
            </a:xfrm>
            <a:prstGeom prst="straightConnector1">
              <a:avLst/>
            </a:prstGeom>
            <a:noFill/>
            <a:ln w="19050" cap="flat" cmpd="sng">
              <a:solidFill>
                <a:srgbClr val="324275"/>
              </a:solidFill>
              <a:prstDash val="solid"/>
              <a:round/>
              <a:headEnd type="none" w="med" len="med"/>
              <a:tailEnd type="triangle" w="med" len="med"/>
            </a:ln>
          </p:spPr>
        </p:cxnSp>
      </p:grpSp>
    </p:spTree>
    <p:extLst>
      <p:ext uri="{BB962C8B-B14F-4D97-AF65-F5344CB8AC3E}">
        <p14:creationId xmlns:p14="http://schemas.microsoft.com/office/powerpoint/2010/main" val="114553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2" y="383581"/>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TUYỂN DỤNG</a:t>
            </a:r>
          </a:p>
        </p:txBody>
      </p:sp>
      <p:grpSp>
        <p:nvGrpSpPr>
          <p:cNvPr id="15" name="Google Shape;575;p40">
            <a:extLst>
              <a:ext uri="{FF2B5EF4-FFF2-40B4-BE49-F238E27FC236}">
                <a16:creationId xmlns:a16="http://schemas.microsoft.com/office/drawing/2014/main" id="{84346E9B-E9CC-42B7-9B80-1FB244A6629B}"/>
              </a:ext>
            </a:extLst>
          </p:cNvPr>
          <p:cNvGrpSpPr/>
          <p:nvPr/>
        </p:nvGrpSpPr>
        <p:grpSpPr>
          <a:xfrm>
            <a:off x="643203" y="1848276"/>
            <a:ext cx="10724256" cy="3993559"/>
            <a:chOff x="539552" y="1664813"/>
            <a:chExt cx="8043192" cy="2995169"/>
          </a:xfrm>
        </p:grpSpPr>
        <p:sp>
          <p:nvSpPr>
            <p:cNvPr id="16" name="Google Shape;576;p40">
              <a:extLst>
                <a:ext uri="{FF2B5EF4-FFF2-40B4-BE49-F238E27FC236}">
                  <a16:creationId xmlns:a16="http://schemas.microsoft.com/office/drawing/2014/main" id="{566A6168-1EF3-490E-95B7-0378181B2805}"/>
                </a:ext>
              </a:extLst>
            </p:cNvPr>
            <p:cNvSpPr/>
            <p:nvPr/>
          </p:nvSpPr>
          <p:spPr>
            <a:xfrm>
              <a:off x="4581165" y="3809320"/>
              <a:ext cx="3384376" cy="640620"/>
            </a:xfrm>
            <a:prstGeom prst="rect">
              <a:avLst/>
            </a:prstGeom>
            <a:solidFill>
              <a:schemeClr val="accent1"/>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17" name="Google Shape;577;p40">
              <a:extLst>
                <a:ext uri="{FF2B5EF4-FFF2-40B4-BE49-F238E27FC236}">
                  <a16:creationId xmlns:a16="http://schemas.microsoft.com/office/drawing/2014/main" id="{7F35BFFD-9E08-4A0F-A5E3-E60DFFB78C5B}"/>
                </a:ext>
              </a:extLst>
            </p:cNvPr>
            <p:cNvSpPr/>
            <p:nvPr/>
          </p:nvSpPr>
          <p:spPr>
            <a:xfrm rot="10800000">
              <a:off x="3275856" y="1879355"/>
              <a:ext cx="2570584" cy="2570584"/>
            </a:xfrm>
            <a:prstGeom prst="blockArc">
              <a:avLst>
                <a:gd name="adj1" fmla="val 5399885"/>
                <a:gd name="adj2" fmla="val 16270511"/>
                <a:gd name="adj3" fmla="val 25497"/>
              </a:avLst>
            </a:prstGeom>
            <a:solidFill>
              <a:srgbClr val="F39451"/>
            </a:solidFill>
            <a:ln>
              <a:solidFill>
                <a:schemeClr val="accent2"/>
              </a:solidFill>
            </a:ln>
          </p:spPr>
          <p:txBody>
            <a:bodyPr spcFirstLastPara="1" wrap="square" lIns="121900" tIns="60933" rIns="121900" bIns="60933" anchor="ctr" anchorCtr="0">
              <a:noAutofit/>
            </a:bodyPr>
            <a:lstStyle/>
            <a:p>
              <a:pPr algn="ctr"/>
              <a:endParaRPr sz="2400">
                <a:solidFill>
                  <a:schemeClr val="dk1"/>
                </a:solidFill>
                <a:latin typeface="Arial"/>
                <a:ea typeface="Arial"/>
                <a:cs typeface="Arial"/>
                <a:sym typeface="Arial"/>
              </a:endParaRPr>
            </a:p>
          </p:txBody>
        </p:sp>
        <p:sp>
          <p:nvSpPr>
            <p:cNvPr id="18" name="Google Shape;578;p40">
              <a:extLst>
                <a:ext uri="{FF2B5EF4-FFF2-40B4-BE49-F238E27FC236}">
                  <a16:creationId xmlns:a16="http://schemas.microsoft.com/office/drawing/2014/main" id="{5ED2FC03-0BEC-449D-BCD1-56247E9BEA83}"/>
                </a:ext>
              </a:extLst>
            </p:cNvPr>
            <p:cNvSpPr/>
            <p:nvPr/>
          </p:nvSpPr>
          <p:spPr>
            <a:xfrm>
              <a:off x="3275856" y="1879356"/>
              <a:ext cx="2570584" cy="2570584"/>
            </a:xfrm>
            <a:prstGeom prst="blockArc">
              <a:avLst>
                <a:gd name="adj1" fmla="val 5399885"/>
                <a:gd name="adj2" fmla="val 16270511"/>
                <a:gd name="adj3" fmla="val 25497"/>
              </a:avLst>
            </a:prstGeom>
            <a:solidFill>
              <a:schemeClr val="accent1"/>
            </a:solidFill>
            <a:ln>
              <a:noFill/>
            </a:ln>
          </p:spPr>
          <p:txBody>
            <a:bodyPr spcFirstLastPara="1" wrap="square" lIns="121900" tIns="60933" rIns="121900" bIns="60933" anchor="ctr" anchorCtr="0">
              <a:noAutofit/>
            </a:bodyPr>
            <a:lstStyle/>
            <a:p>
              <a:pPr algn="ctr"/>
              <a:endParaRPr sz="2400">
                <a:solidFill>
                  <a:schemeClr val="dk1"/>
                </a:solidFill>
                <a:latin typeface="Arial"/>
                <a:ea typeface="Arial"/>
                <a:cs typeface="Arial"/>
                <a:sym typeface="Arial"/>
              </a:endParaRPr>
            </a:p>
          </p:txBody>
        </p:sp>
        <p:sp>
          <p:nvSpPr>
            <p:cNvPr id="19" name="Google Shape;579;p40">
              <a:extLst>
                <a:ext uri="{FF2B5EF4-FFF2-40B4-BE49-F238E27FC236}">
                  <a16:creationId xmlns:a16="http://schemas.microsoft.com/office/drawing/2014/main" id="{43FE8F20-EA49-40C2-B5DC-2987692C97CD}"/>
                </a:ext>
              </a:extLst>
            </p:cNvPr>
            <p:cNvSpPr/>
            <p:nvPr/>
          </p:nvSpPr>
          <p:spPr>
            <a:xfrm rot="5400000">
              <a:off x="4487996" y="1737965"/>
              <a:ext cx="1060704" cy="914400"/>
            </a:xfrm>
            <a:prstGeom prst="triangle">
              <a:avLst>
                <a:gd name="adj" fmla="val 50000"/>
              </a:avLst>
            </a:prstGeom>
            <a:solidFill>
              <a:schemeClr val="accent1"/>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20" name="Google Shape;580;p40">
              <a:extLst>
                <a:ext uri="{FF2B5EF4-FFF2-40B4-BE49-F238E27FC236}">
                  <a16:creationId xmlns:a16="http://schemas.microsoft.com/office/drawing/2014/main" id="{9681F1B2-51F3-47A9-9165-A564F744A2B2}"/>
                </a:ext>
              </a:extLst>
            </p:cNvPr>
            <p:cNvSpPr/>
            <p:nvPr/>
          </p:nvSpPr>
          <p:spPr>
            <a:xfrm>
              <a:off x="1194068" y="3809320"/>
              <a:ext cx="3384376" cy="640620"/>
            </a:xfrm>
            <a:prstGeom prst="rect">
              <a:avLst/>
            </a:prstGeom>
            <a:solidFill>
              <a:srgbClr val="F39451"/>
            </a:solidFill>
            <a:ln>
              <a:solidFill>
                <a:srgbClr val="F39451"/>
              </a:solid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21" name="Google Shape;581;p40">
              <a:extLst>
                <a:ext uri="{FF2B5EF4-FFF2-40B4-BE49-F238E27FC236}">
                  <a16:creationId xmlns:a16="http://schemas.microsoft.com/office/drawing/2014/main" id="{5BABF5B9-D5AB-4334-843F-D79BF2C44741}"/>
                </a:ext>
              </a:extLst>
            </p:cNvPr>
            <p:cNvSpPr/>
            <p:nvPr/>
          </p:nvSpPr>
          <p:spPr>
            <a:xfrm rot="5400000">
              <a:off x="7595192" y="3672430"/>
              <a:ext cx="1060704" cy="914400"/>
            </a:xfrm>
            <a:prstGeom prst="triangle">
              <a:avLst>
                <a:gd name="adj" fmla="val 50000"/>
              </a:avLst>
            </a:prstGeom>
            <a:solidFill>
              <a:schemeClr val="accent1"/>
            </a:solidFill>
            <a:ln>
              <a:no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sp>
          <p:nvSpPr>
            <p:cNvPr id="22" name="Google Shape;582;p40">
              <a:extLst>
                <a:ext uri="{FF2B5EF4-FFF2-40B4-BE49-F238E27FC236}">
                  <a16:creationId xmlns:a16="http://schemas.microsoft.com/office/drawing/2014/main" id="{48B511ED-3765-4340-8A61-B142D596EF59}"/>
                </a:ext>
              </a:extLst>
            </p:cNvPr>
            <p:cNvSpPr/>
            <p:nvPr/>
          </p:nvSpPr>
          <p:spPr>
            <a:xfrm rot="-5400000">
              <a:off x="466400" y="3672430"/>
              <a:ext cx="1060704" cy="914400"/>
            </a:xfrm>
            <a:prstGeom prst="triangle">
              <a:avLst>
                <a:gd name="adj" fmla="val 50000"/>
              </a:avLst>
            </a:prstGeom>
            <a:solidFill>
              <a:srgbClr val="F39451"/>
            </a:solidFill>
            <a:ln>
              <a:solidFill>
                <a:srgbClr val="F39451"/>
              </a:solidFill>
            </a:ln>
          </p:spPr>
          <p:txBody>
            <a:bodyPr spcFirstLastPara="1" wrap="square" lIns="121900" tIns="60933" rIns="121900" bIns="60933" anchor="ctr" anchorCtr="0">
              <a:noAutofit/>
            </a:bodyPr>
            <a:lstStyle/>
            <a:p>
              <a:pPr algn="ctr"/>
              <a:endParaRPr sz="2400">
                <a:solidFill>
                  <a:schemeClr val="lt1"/>
                </a:solidFill>
                <a:latin typeface="Arial"/>
                <a:ea typeface="Arial"/>
                <a:cs typeface="Arial"/>
                <a:sym typeface="Arial"/>
              </a:endParaRPr>
            </a:p>
          </p:txBody>
        </p:sp>
      </p:grpSp>
      <p:sp>
        <p:nvSpPr>
          <p:cNvPr id="23" name="Google Shape;583;p40">
            <a:extLst>
              <a:ext uri="{FF2B5EF4-FFF2-40B4-BE49-F238E27FC236}">
                <a16:creationId xmlns:a16="http://schemas.microsoft.com/office/drawing/2014/main" id="{6E5BFF7A-6903-4E66-A2D3-7968C130B102}"/>
              </a:ext>
            </a:extLst>
          </p:cNvPr>
          <p:cNvSpPr txBox="1"/>
          <p:nvPr/>
        </p:nvSpPr>
        <p:spPr>
          <a:xfrm>
            <a:off x="1902960" y="4826922"/>
            <a:ext cx="2259465" cy="615553"/>
          </a:xfrm>
          <a:prstGeom prst="rect">
            <a:avLst/>
          </a:prstGeom>
          <a:noFill/>
          <a:ln>
            <a:noFill/>
          </a:ln>
        </p:spPr>
        <p:txBody>
          <a:bodyPr spcFirstLastPara="1" wrap="square" lIns="121900" tIns="60933" rIns="121900" bIns="60933" anchor="ctr" anchorCtr="0">
            <a:noAutofit/>
          </a:bodyPr>
          <a:lstStyle/>
          <a:p>
            <a:pPr algn="ctr"/>
            <a:r>
              <a:rPr lang="en" sz="3200" b="1" dirty="0">
                <a:solidFill>
                  <a:schemeClr val="lt1"/>
                </a:solidFill>
                <a:latin typeface="Arial"/>
                <a:ea typeface="Arial"/>
                <a:cs typeface="Arial"/>
                <a:sym typeface="Arial"/>
              </a:rPr>
              <a:t>2016-2020</a:t>
            </a:r>
          </a:p>
        </p:txBody>
      </p:sp>
      <p:sp>
        <p:nvSpPr>
          <p:cNvPr id="24" name="Google Shape;584;p40">
            <a:extLst>
              <a:ext uri="{FF2B5EF4-FFF2-40B4-BE49-F238E27FC236}">
                <a16:creationId xmlns:a16="http://schemas.microsoft.com/office/drawing/2014/main" id="{284D5A0A-D108-427D-B4E5-2BAFE566F93E}"/>
              </a:ext>
            </a:extLst>
          </p:cNvPr>
          <p:cNvSpPr txBox="1"/>
          <p:nvPr/>
        </p:nvSpPr>
        <p:spPr>
          <a:xfrm>
            <a:off x="7886701" y="4826921"/>
            <a:ext cx="2260612" cy="615553"/>
          </a:xfrm>
          <a:prstGeom prst="rect">
            <a:avLst/>
          </a:prstGeom>
          <a:noFill/>
          <a:ln>
            <a:noFill/>
          </a:ln>
        </p:spPr>
        <p:txBody>
          <a:bodyPr spcFirstLastPara="1" wrap="square" lIns="121900" tIns="60933" rIns="121900" bIns="60933" anchor="ctr" anchorCtr="0">
            <a:noAutofit/>
          </a:bodyPr>
          <a:lstStyle/>
          <a:p>
            <a:pPr algn="ctr"/>
            <a:r>
              <a:rPr lang="en" sz="3200" b="1" dirty="0">
                <a:solidFill>
                  <a:schemeClr val="lt1"/>
                </a:solidFill>
                <a:latin typeface="Arial"/>
                <a:ea typeface="Arial"/>
                <a:cs typeface="Arial"/>
                <a:sym typeface="Arial"/>
              </a:rPr>
              <a:t>2021-2025</a:t>
            </a:r>
          </a:p>
        </p:txBody>
      </p:sp>
      <p:sp>
        <p:nvSpPr>
          <p:cNvPr id="26" name="Google Shape;586;p40">
            <a:extLst>
              <a:ext uri="{FF2B5EF4-FFF2-40B4-BE49-F238E27FC236}">
                <a16:creationId xmlns:a16="http://schemas.microsoft.com/office/drawing/2014/main" id="{556CA9E7-0EA7-4686-B5D3-0C028F767959}"/>
              </a:ext>
            </a:extLst>
          </p:cNvPr>
          <p:cNvSpPr txBox="1"/>
          <p:nvPr/>
        </p:nvSpPr>
        <p:spPr>
          <a:xfrm>
            <a:off x="530444" y="1959981"/>
            <a:ext cx="3717490" cy="1846660"/>
          </a:xfrm>
          <a:prstGeom prst="rect">
            <a:avLst/>
          </a:prstGeom>
          <a:noFill/>
          <a:ln>
            <a:noFill/>
          </a:ln>
        </p:spPr>
        <p:txBody>
          <a:bodyPr spcFirstLastPara="1" wrap="square" lIns="121900" tIns="60933" rIns="121900" bIns="60933" anchor="t" anchorCtr="0">
            <a:noAutofit/>
          </a:bodyPr>
          <a:lstStyle/>
          <a:p>
            <a:pPr algn="just"/>
            <a:r>
              <a:rPr lang="en-US" sz="2000" dirty="0">
                <a:solidFill>
                  <a:srgbClr val="F39451"/>
                </a:solidFill>
                <a:latin typeface="Times New Roman" panose="02020603050405020304" pitchFamily="18" charset="0"/>
                <a:ea typeface="Arial"/>
                <a:cs typeface="Times New Roman" panose="02020603050405020304" pitchFamily="18" charset="0"/>
                <a:sym typeface="Arial"/>
              </a:rPr>
              <a:t>1. EVN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riển</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khai</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hươ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rình</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hực</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ập</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ất</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ả</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ác</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ứ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ử</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viên</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đă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ký</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hô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qua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quy</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rình</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uyển</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dụ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ủa</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EVN.</a:t>
            </a:r>
          </a:p>
          <a:p>
            <a:pPr algn="just"/>
            <a:r>
              <a:rPr lang="en-US" sz="2000" dirty="0">
                <a:solidFill>
                  <a:srgbClr val="F39451"/>
                </a:solidFill>
                <a:latin typeface="Times New Roman" panose="02020603050405020304" pitchFamily="18" charset="0"/>
                <a:ea typeface="Arial"/>
                <a:cs typeface="Times New Roman" panose="02020603050405020304" pitchFamily="18" charset="0"/>
                <a:sym typeface="Arial"/>
              </a:rPr>
              <a:t>2.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hô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tin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tuyển</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dụ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được</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cô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bố</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rộng</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 </a:t>
            </a:r>
            <a:r>
              <a:rPr lang="en-US" sz="2000" dirty="0" err="1">
                <a:solidFill>
                  <a:srgbClr val="F39451"/>
                </a:solidFill>
                <a:latin typeface="Times New Roman" panose="02020603050405020304" pitchFamily="18" charset="0"/>
                <a:ea typeface="Arial"/>
                <a:cs typeface="Times New Roman" panose="02020603050405020304" pitchFamily="18" charset="0"/>
                <a:sym typeface="Arial"/>
              </a:rPr>
              <a:t>rãi</a:t>
            </a:r>
            <a:r>
              <a:rPr lang="en-US" sz="2000" dirty="0">
                <a:solidFill>
                  <a:srgbClr val="F39451"/>
                </a:solidFill>
                <a:latin typeface="Times New Roman" panose="02020603050405020304" pitchFamily="18" charset="0"/>
                <a:ea typeface="Arial"/>
                <a:cs typeface="Times New Roman" panose="02020603050405020304" pitchFamily="18" charset="0"/>
                <a:sym typeface="Arial"/>
              </a:rPr>
              <a:t>.</a:t>
            </a:r>
          </a:p>
        </p:txBody>
      </p:sp>
      <p:sp>
        <p:nvSpPr>
          <p:cNvPr id="30" name="Google Shape;589;p40">
            <a:extLst>
              <a:ext uri="{FF2B5EF4-FFF2-40B4-BE49-F238E27FC236}">
                <a16:creationId xmlns:a16="http://schemas.microsoft.com/office/drawing/2014/main" id="{D41ADE9C-A00F-4E67-9C4B-61BCFB3E08FA}"/>
              </a:ext>
            </a:extLst>
          </p:cNvPr>
          <p:cNvSpPr txBox="1"/>
          <p:nvPr/>
        </p:nvSpPr>
        <p:spPr>
          <a:xfrm>
            <a:off x="7762726" y="976972"/>
            <a:ext cx="4137950" cy="3730644"/>
          </a:xfrm>
          <a:prstGeom prst="rect">
            <a:avLst/>
          </a:prstGeom>
          <a:noFill/>
          <a:ln>
            <a:noFill/>
          </a:ln>
        </p:spPr>
        <p:txBody>
          <a:bodyPr spcFirstLastPara="1" wrap="square" lIns="121900" tIns="60933" rIns="121900" bIns="60933" anchor="t" anchorCtr="0">
            <a:noAutofit/>
          </a:bodyPr>
          <a:lstStyle/>
          <a:p>
            <a:pPr algn="just"/>
            <a:r>
              <a:rPr lang="en-US" sz="2000" dirty="0">
                <a:solidFill>
                  <a:schemeClr val="accent1"/>
                </a:solidFill>
                <a:latin typeface="Times New Roman" panose="02020603050405020304" pitchFamily="18" charset="0"/>
                <a:cs typeface="Times New Roman" panose="02020603050405020304" pitchFamily="18" charset="0"/>
                <a:sym typeface="Arial"/>
              </a:rPr>
              <a:t>1. </a:t>
            </a:r>
            <a:r>
              <a:rPr lang="en-US" sz="2000" dirty="0" err="1">
                <a:solidFill>
                  <a:schemeClr val="accent1"/>
                </a:solidFill>
                <a:latin typeface="Times New Roman" panose="02020603050405020304" pitchFamily="18" charset="0"/>
                <a:cs typeface="Times New Roman" panose="02020603050405020304" pitchFamily="18" charset="0"/>
                <a:sym typeface="Arial"/>
              </a:rPr>
              <a:t>Chấ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iể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ao</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hơ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ố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ớ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á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sinh</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iê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ã</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a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gia</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hươ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ình</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ự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ập</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kh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nộp</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ơ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ứ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uyể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ào</a:t>
            </a:r>
            <a:r>
              <a:rPr lang="en-US" sz="2000" dirty="0">
                <a:solidFill>
                  <a:schemeClr val="accent1"/>
                </a:solidFill>
                <a:latin typeface="Times New Roman" panose="02020603050405020304" pitchFamily="18" charset="0"/>
                <a:cs typeface="Times New Roman" panose="02020603050405020304" pitchFamily="18" charset="0"/>
                <a:sym typeface="Arial"/>
              </a:rPr>
              <a:t> EVN, </a:t>
            </a:r>
            <a:r>
              <a:rPr lang="en-US" sz="2000" dirty="0" err="1">
                <a:solidFill>
                  <a:schemeClr val="accent1"/>
                </a:solidFill>
                <a:latin typeface="Times New Roman" panose="02020603050405020304" pitchFamily="18" charset="0"/>
                <a:cs typeface="Times New Roman" panose="02020603050405020304" pitchFamily="18" charset="0"/>
                <a:sym typeface="Arial"/>
              </a:rPr>
              <a:t>tạo</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iều</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kiệ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ho</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ả</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na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ẫ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nữ</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a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gia</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hươ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ình</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ự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ập</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ó</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ê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ợ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ế</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ượ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uyể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dụng</a:t>
            </a:r>
            <a:r>
              <a:rPr lang="en-US" sz="2000" dirty="0">
                <a:solidFill>
                  <a:schemeClr val="accent1"/>
                </a:solidFill>
                <a:latin typeface="Times New Roman" panose="02020603050405020304" pitchFamily="18" charset="0"/>
                <a:cs typeface="Times New Roman" panose="02020603050405020304" pitchFamily="18" charset="0"/>
                <a:sym typeface="Arial"/>
              </a:rPr>
              <a:t>. Cho </a:t>
            </a:r>
            <a:r>
              <a:rPr lang="en-US" sz="2000" dirty="0" err="1">
                <a:solidFill>
                  <a:schemeClr val="accent1"/>
                </a:solidFill>
                <a:latin typeface="Times New Roman" panose="02020603050405020304" pitchFamily="18" charset="0"/>
                <a:cs typeface="Times New Roman" panose="02020603050405020304" pitchFamily="18" charset="0"/>
                <a:sym typeface="Arial"/>
              </a:rPr>
              <a:t>thự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ập</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sinh</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ơ</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hộ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ựa</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họ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ngườ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hướ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dẫn</a:t>
            </a:r>
            <a:r>
              <a:rPr lang="en-US" sz="2000" dirty="0">
                <a:solidFill>
                  <a:schemeClr val="accent1"/>
                </a:solidFill>
                <a:latin typeface="Times New Roman" panose="02020603050405020304" pitchFamily="18" charset="0"/>
                <a:cs typeface="Times New Roman" panose="02020603050405020304" pitchFamily="18" charset="0"/>
                <a:sym typeface="Arial"/>
              </a:rPr>
              <a:t>.</a:t>
            </a:r>
          </a:p>
          <a:p>
            <a:pPr algn="just"/>
            <a:r>
              <a:rPr lang="en-US" sz="2000" dirty="0">
                <a:solidFill>
                  <a:schemeClr val="accent1"/>
                </a:solidFill>
                <a:latin typeface="Times New Roman" panose="02020603050405020304" pitchFamily="18" charset="0"/>
                <a:cs typeface="Times New Roman" panose="02020603050405020304" pitchFamily="18" charset="0"/>
                <a:sym typeface="Arial"/>
              </a:rPr>
              <a:t>2. </a:t>
            </a:r>
            <a:r>
              <a:rPr lang="en-US" sz="2000" dirty="0" err="1">
                <a:solidFill>
                  <a:schemeClr val="accent1"/>
                </a:solidFill>
                <a:latin typeface="Times New Roman" panose="02020603050405020304" pitchFamily="18" charset="0"/>
                <a:cs typeface="Times New Roman" panose="02020603050405020304" pitchFamily="18" charset="0"/>
                <a:sym typeface="Arial"/>
              </a:rPr>
              <a:t>Cô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bố</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hông</a:t>
            </a:r>
            <a:r>
              <a:rPr lang="en-US" sz="2000" dirty="0">
                <a:solidFill>
                  <a:schemeClr val="accent1"/>
                </a:solidFill>
                <a:latin typeface="Times New Roman" panose="02020603050405020304" pitchFamily="18" charset="0"/>
                <a:cs typeface="Times New Roman" panose="02020603050405020304" pitchFamily="18" charset="0"/>
                <a:sym typeface="Arial"/>
              </a:rPr>
              <a:t> tin </a:t>
            </a:r>
            <a:r>
              <a:rPr lang="en-US" sz="2000" dirty="0" err="1">
                <a:solidFill>
                  <a:schemeClr val="accent1"/>
                </a:solidFill>
                <a:latin typeface="Times New Roman" panose="02020603050405020304" pitchFamily="18" charset="0"/>
                <a:cs typeface="Times New Roman" panose="02020603050405020304" pitchFamily="18" charset="0"/>
                <a:sym typeface="Arial"/>
              </a:rPr>
              <a:t>rộ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rã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ề</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hỉ</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iêu</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uyể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dụng</a:t>
            </a:r>
            <a:r>
              <a:rPr lang="en-US" sz="2000" dirty="0">
                <a:solidFill>
                  <a:schemeClr val="accent1"/>
                </a:solidFill>
                <a:latin typeface="Times New Roman" panose="02020603050405020304" pitchFamily="18" charset="0"/>
                <a:cs typeface="Times New Roman" panose="02020603050405020304" pitchFamily="18" charset="0"/>
                <a:sym typeface="Arial"/>
              </a:rPr>
              <a:t> lao </a:t>
            </a:r>
            <a:r>
              <a:rPr lang="en-US" sz="2000" dirty="0" err="1">
                <a:solidFill>
                  <a:schemeClr val="accent1"/>
                </a:solidFill>
                <a:latin typeface="Times New Roman" panose="02020603050405020304" pitchFamily="18" charset="0"/>
                <a:cs typeface="Times New Roman" panose="02020603050405020304" pitchFamily="18" charset="0"/>
                <a:sym typeface="Arial"/>
              </a:rPr>
              <a:t>độ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nữ</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ác</a:t>
            </a:r>
            <a:r>
              <a:rPr lang="en-US" sz="2000" dirty="0">
                <a:solidFill>
                  <a:schemeClr val="accent1"/>
                </a:solidFill>
                <a:latin typeface="Times New Roman" panose="02020603050405020304" pitchFamily="18" charset="0"/>
                <a:cs typeface="Times New Roman" panose="02020603050405020304" pitchFamily="18" charset="0"/>
                <a:sym typeface="Arial"/>
              </a:rPr>
              <a:t> TCT </a:t>
            </a:r>
            <a:r>
              <a:rPr lang="en-US" sz="2000" dirty="0" err="1">
                <a:solidFill>
                  <a:schemeClr val="accent1"/>
                </a:solidFill>
                <a:latin typeface="Times New Roman" panose="02020603050405020304" pitchFamily="18" charset="0"/>
                <a:cs typeface="Times New Roman" panose="02020603050405020304" pitchFamily="18" charset="0"/>
                <a:sym typeface="Arial"/>
              </a:rPr>
              <a:t>Điệ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ực</a:t>
            </a:r>
            <a:r>
              <a:rPr lang="en-US" sz="2000" dirty="0">
                <a:solidFill>
                  <a:schemeClr val="accent1"/>
                </a:solidFill>
                <a:latin typeface="Times New Roman" panose="02020603050405020304" pitchFamily="18" charset="0"/>
                <a:cs typeface="Times New Roman" panose="02020603050405020304" pitchFamily="18" charset="0"/>
                <a:sym typeface="Arial"/>
              </a:rPr>
              <a:t>: 20-25%; </a:t>
            </a:r>
            <a:r>
              <a:rPr lang="en-US" sz="2000" dirty="0" err="1">
                <a:solidFill>
                  <a:schemeClr val="accent1"/>
                </a:solidFill>
                <a:latin typeface="Times New Roman" panose="02020603050405020304" pitchFamily="18" charset="0"/>
                <a:cs typeface="Times New Roman" panose="02020603050405020304" pitchFamily="18" charset="0"/>
                <a:sym typeface="Arial"/>
              </a:rPr>
              <a:t>Phát</a:t>
            </a:r>
            <a:r>
              <a:rPr lang="en-US" sz="2000" dirty="0">
                <a:solidFill>
                  <a:schemeClr val="accent1"/>
                </a:solidFill>
                <a:latin typeface="Times New Roman" panose="02020603050405020304" pitchFamily="18" charset="0"/>
                <a:cs typeface="Times New Roman" panose="02020603050405020304" pitchFamily="18" charset="0"/>
                <a:sym typeface="Arial"/>
              </a:rPr>
              <a:t> điện </a:t>
            </a:r>
            <a:r>
              <a:rPr lang="en-US" sz="2000" dirty="0" err="1">
                <a:solidFill>
                  <a:schemeClr val="accent1"/>
                </a:solidFill>
                <a:latin typeface="Times New Roman" panose="02020603050405020304" pitchFamily="18" charset="0"/>
                <a:cs typeface="Times New Roman" panose="02020603050405020304" pitchFamily="18" charset="0"/>
                <a:sym typeface="Arial"/>
              </a:rPr>
              <a:t>và</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uyền</a:t>
            </a:r>
            <a:r>
              <a:rPr lang="en-US" sz="2000" dirty="0">
                <a:solidFill>
                  <a:schemeClr val="accent1"/>
                </a:solidFill>
                <a:latin typeface="Times New Roman" panose="02020603050405020304" pitchFamily="18" charset="0"/>
                <a:cs typeface="Times New Roman" panose="02020603050405020304" pitchFamily="18" charset="0"/>
                <a:sym typeface="Arial"/>
              </a:rPr>
              <a:t> tải: </a:t>
            </a:r>
            <a:r>
              <a:rPr lang="en-US" sz="2000" dirty="0">
                <a:solidFill>
                  <a:schemeClr val="accent1"/>
                </a:solidFill>
                <a:latin typeface="Times New Roman" panose="02020603050405020304" pitchFamily="18" charset="0"/>
                <a:ea typeface="Arial"/>
                <a:cs typeface="Times New Roman" panose="02020603050405020304" pitchFamily="18" charset="0"/>
                <a:sym typeface="Arial"/>
              </a:rPr>
              <a:t>10-15% </a:t>
            </a:r>
          </a:p>
        </p:txBody>
      </p:sp>
    </p:spTree>
    <p:extLst>
      <p:ext uri="{BB962C8B-B14F-4D97-AF65-F5344CB8AC3E}">
        <p14:creationId xmlns:p14="http://schemas.microsoft.com/office/powerpoint/2010/main" val="1570492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44">
            <a:extLst>
              <a:ext uri="{FF2B5EF4-FFF2-40B4-BE49-F238E27FC236}">
                <a16:creationId xmlns:a16="http://schemas.microsoft.com/office/drawing/2014/main" id="{35358BDE-83F7-4C78-A87B-2285BC2699DC}"/>
              </a:ext>
            </a:extLst>
          </p:cNvPr>
          <p:cNvSpPr/>
          <p:nvPr/>
        </p:nvSpPr>
        <p:spPr>
          <a:xfrm>
            <a:off x="2" y="383581"/>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QUY HOẠCH VÀ BỔ NHIỆM </a:t>
            </a:r>
          </a:p>
        </p:txBody>
      </p:sp>
      <p:grpSp>
        <p:nvGrpSpPr>
          <p:cNvPr id="118" name="Group 117">
            <a:extLst>
              <a:ext uri="{FF2B5EF4-FFF2-40B4-BE49-F238E27FC236}">
                <a16:creationId xmlns:a16="http://schemas.microsoft.com/office/drawing/2014/main" id="{3F65E782-124D-4F44-8A65-6AD8E1F17809}"/>
              </a:ext>
            </a:extLst>
          </p:cNvPr>
          <p:cNvGrpSpPr/>
          <p:nvPr/>
        </p:nvGrpSpPr>
        <p:grpSpPr>
          <a:xfrm>
            <a:off x="5422633" y="976972"/>
            <a:ext cx="1369407" cy="36576"/>
            <a:chOff x="1775295" y="2020905"/>
            <a:chExt cx="3631535" cy="45719"/>
          </a:xfrm>
        </p:grpSpPr>
        <p:sp>
          <p:nvSpPr>
            <p:cNvPr id="119" name="Rectangle 118">
              <a:extLst>
                <a:ext uri="{FF2B5EF4-FFF2-40B4-BE49-F238E27FC236}">
                  <a16:creationId xmlns:a16="http://schemas.microsoft.com/office/drawing/2014/main" id="{159F6E1A-91CF-40E0-8CF8-01DB6744BDF0}"/>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120" name="Rectangle 119">
              <a:extLst>
                <a:ext uri="{FF2B5EF4-FFF2-40B4-BE49-F238E27FC236}">
                  <a16:creationId xmlns:a16="http://schemas.microsoft.com/office/drawing/2014/main" id="{F1B9488E-30AD-47AD-A016-B36A43CE7F6D}"/>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121" name="Rectangle 120">
              <a:extLst>
                <a:ext uri="{FF2B5EF4-FFF2-40B4-BE49-F238E27FC236}">
                  <a16:creationId xmlns:a16="http://schemas.microsoft.com/office/drawing/2014/main" id="{FE0F402D-8BFE-4B22-9935-429D79A7BA7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122" name="Rectangle 121">
              <a:extLst>
                <a:ext uri="{FF2B5EF4-FFF2-40B4-BE49-F238E27FC236}">
                  <a16:creationId xmlns:a16="http://schemas.microsoft.com/office/drawing/2014/main" id="{DDC03E28-95BA-4ACC-BFD5-C129E33931AE}"/>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123" name="Rectangle 122">
              <a:extLst>
                <a:ext uri="{FF2B5EF4-FFF2-40B4-BE49-F238E27FC236}">
                  <a16:creationId xmlns:a16="http://schemas.microsoft.com/office/drawing/2014/main" id="{AAD56EFD-B044-4BD9-BD5A-D91EE3C19E6B}"/>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124" name="Rectangle 123">
              <a:extLst>
                <a:ext uri="{FF2B5EF4-FFF2-40B4-BE49-F238E27FC236}">
                  <a16:creationId xmlns:a16="http://schemas.microsoft.com/office/drawing/2014/main" id="{0A17F708-0B85-45C5-A574-7C8772884A8B}"/>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grpSp>
      <p:grpSp>
        <p:nvGrpSpPr>
          <p:cNvPr id="195" name="Google Shape;1575;p43">
            <a:extLst>
              <a:ext uri="{FF2B5EF4-FFF2-40B4-BE49-F238E27FC236}">
                <a16:creationId xmlns:a16="http://schemas.microsoft.com/office/drawing/2014/main" id="{77AA72CD-AC1E-46CE-87A0-C94EAF424E06}"/>
              </a:ext>
            </a:extLst>
          </p:cNvPr>
          <p:cNvGrpSpPr/>
          <p:nvPr/>
        </p:nvGrpSpPr>
        <p:grpSpPr>
          <a:xfrm>
            <a:off x="3472258" y="2038162"/>
            <a:ext cx="4010867" cy="3435800"/>
            <a:chOff x="3067925" y="1659250"/>
            <a:chExt cx="3008150" cy="2576850"/>
          </a:xfrm>
        </p:grpSpPr>
        <p:grpSp>
          <p:nvGrpSpPr>
            <p:cNvPr id="196" name="Google Shape;1576;p43">
              <a:extLst>
                <a:ext uri="{FF2B5EF4-FFF2-40B4-BE49-F238E27FC236}">
                  <a16:creationId xmlns:a16="http://schemas.microsoft.com/office/drawing/2014/main" id="{AABF8AF0-F943-4FF8-A3EB-AD1F1EDD133C}"/>
                </a:ext>
              </a:extLst>
            </p:cNvPr>
            <p:cNvGrpSpPr/>
            <p:nvPr/>
          </p:nvGrpSpPr>
          <p:grpSpPr>
            <a:xfrm>
              <a:off x="3067925" y="1659250"/>
              <a:ext cx="3008150" cy="2576850"/>
              <a:chOff x="2305925" y="1659250"/>
              <a:chExt cx="3008150" cy="2576850"/>
            </a:xfrm>
          </p:grpSpPr>
          <p:sp>
            <p:nvSpPr>
              <p:cNvPr id="199" name="Google Shape;1577;p43">
                <a:extLst>
                  <a:ext uri="{FF2B5EF4-FFF2-40B4-BE49-F238E27FC236}">
                    <a16:creationId xmlns:a16="http://schemas.microsoft.com/office/drawing/2014/main" id="{5703B906-D06E-4C8D-8881-046C6C2AC22E}"/>
                  </a:ext>
                </a:extLst>
              </p:cNvPr>
              <p:cNvSpPr/>
              <p:nvPr/>
            </p:nvSpPr>
            <p:spPr>
              <a:xfrm>
                <a:off x="2305925" y="2947525"/>
                <a:ext cx="1288875" cy="911150"/>
              </a:xfrm>
              <a:custGeom>
                <a:avLst/>
                <a:gdLst/>
                <a:ahLst/>
                <a:cxnLst/>
                <a:rect l="l" t="t" r="r" b="b"/>
                <a:pathLst>
                  <a:path w="51555" h="36446" extrusionOk="0">
                    <a:moveTo>
                      <a:pt x="25" y="0"/>
                    </a:moveTo>
                    <a:cubicBezTo>
                      <a:pt x="1" y="13680"/>
                      <a:pt x="5430" y="26789"/>
                      <a:pt x="15110" y="36445"/>
                    </a:cubicBezTo>
                    <a:lnTo>
                      <a:pt x="51555" y="0"/>
                    </a:lnTo>
                    <a:close/>
                  </a:path>
                </a:pathLst>
              </a:custGeom>
              <a:solidFill>
                <a:srgbClr val="CE4D78"/>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0" name="Google Shape;1578;p43">
                <a:extLst>
                  <a:ext uri="{FF2B5EF4-FFF2-40B4-BE49-F238E27FC236}">
                    <a16:creationId xmlns:a16="http://schemas.microsoft.com/office/drawing/2014/main" id="{EE7330A5-214C-403E-9585-32882C89454F}"/>
                  </a:ext>
                </a:extLst>
              </p:cNvPr>
              <p:cNvSpPr/>
              <p:nvPr/>
            </p:nvSpPr>
            <p:spPr>
              <a:xfrm>
                <a:off x="2683650" y="2947525"/>
                <a:ext cx="911150" cy="1288575"/>
              </a:xfrm>
              <a:custGeom>
                <a:avLst/>
                <a:gdLst/>
                <a:ahLst/>
                <a:cxnLst/>
                <a:rect l="l" t="t" r="r" b="b"/>
                <a:pathLst>
                  <a:path w="36446" h="51543" extrusionOk="0">
                    <a:moveTo>
                      <a:pt x="36446" y="0"/>
                    </a:moveTo>
                    <a:lnTo>
                      <a:pt x="1" y="36445"/>
                    </a:lnTo>
                    <a:cubicBezTo>
                      <a:pt x="9646" y="46114"/>
                      <a:pt x="22737" y="51542"/>
                      <a:pt x="36401" y="51542"/>
                    </a:cubicBezTo>
                    <a:cubicBezTo>
                      <a:pt x="36416" y="51542"/>
                      <a:pt x="36431" y="51542"/>
                      <a:pt x="36446" y="51542"/>
                    </a:cubicBezTo>
                    <a:lnTo>
                      <a:pt x="36446" y="0"/>
                    </a:lnTo>
                    <a:close/>
                  </a:path>
                </a:pathLst>
              </a:custGeom>
              <a:solidFill>
                <a:srgbClr val="941C44"/>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1" name="Google Shape;1579;p43">
                <a:extLst>
                  <a:ext uri="{FF2B5EF4-FFF2-40B4-BE49-F238E27FC236}">
                    <a16:creationId xmlns:a16="http://schemas.microsoft.com/office/drawing/2014/main" id="{D9577A08-6EF6-426F-B337-60D8AF693AA3}"/>
                  </a:ext>
                </a:extLst>
              </p:cNvPr>
              <p:cNvSpPr/>
              <p:nvPr/>
            </p:nvSpPr>
            <p:spPr>
              <a:xfrm>
                <a:off x="2305925" y="2036700"/>
                <a:ext cx="1288875" cy="910850"/>
              </a:xfrm>
              <a:custGeom>
                <a:avLst/>
                <a:gdLst/>
                <a:ahLst/>
                <a:cxnLst/>
                <a:rect l="l" t="t" r="r" b="b"/>
                <a:pathLst>
                  <a:path w="51555" h="36434" extrusionOk="0">
                    <a:moveTo>
                      <a:pt x="15110" y="0"/>
                    </a:moveTo>
                    <a:cubicBezTo>
                      <a:pt x="5430" y="9656"/>
                      <a:pt x="1" y="22765"/>
                      <a:pt x="25" y="36433"/>
                    </a:cubicBezTo>
                    <a:lnTo>
                      <a:pt x="51555" y="36433"/>
                    </a:lnTo>
                    <a:lnTo>
                      <a:pt x="15110" y="0"/>
                    </a:lnTo>
                    <a:close/>
                  </a:path>
                </a:pathLst>
              </a:custGeom>
              <a:solidFill>
                <a:srgbClr val="F39451"/>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2" name="Google Shape;1580;p43">
                <a:extLst>
                  <a:ext uri="{FF2B5EF4-FFF2-40B4-BE49-F238E27FC236}">
                    <a16:creationId xmlns:a16="http://schemas.microsoft.com/office/drawing/2014/main" id="{A67EC838-B744-4529-A056-EEA1FA2E9CFA}"/>
                  </a:ext>
                </a:extLst>
              </p:cNvPr>
              <p:cNvSpPr/>
              <p:nvPr/>
            </p:nvSpPr>
            <p:spPr>
              <a:xfrm>
                <a:off x="2683650" y="1659250"/>
                <a:ext cx="911150" cy="1288300"/>
              </a:xfrm>
              <a:custGeom>
                <a:avLst/>
                <a:gdLst/>
                <a:ahLst/>
                <a:cxnLst/>
                <a:rect l="l" t="t" r="r" b="b"/>
                <a:pathLst>
                  <a:path w="36446" h="51532" extrusionOk="0">
                    <a:moveTo>
                      <a:pt x="36401" y="1"/>
                    </a:moveTo>
                    <a:cubicBezTo>
                      <a:pt x="22737" y="1"/>
                      <a:pt x="9646" y="5429"/>
                      <a:pt x="1" y="15098"/>
                    </a:cubicBezTo>
                    <a:lnTo>
                      <a:pt x="36446" y="51531"/>
                    </a:lnTo>
                    <a:lnTo>
                      <a:pt x="36446" y="1"/>
                    </a:lnTo>
                    <a:cubicBezTo>
                      <a:pt x="36431" y="1"/>
                      <a:pt x="36416" y="1"/>
                      <a:pt x="36401" y="1"/>
                    </a:cubicBezTo>
                    <a:close/>
                  </a:path>
                </a:pathLst>
              </a:custGeom>
              <a:solidFill>
                <a:srgbClr val="FAB847"/>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3" name="Google Shape;1581;p43">
                <a:extLst>
                  <a:ext uri="{FF2B5EF4-FFF2-40B4-BE49-F238E27FC236}">
                    <a16:creationId xmlns:a16="http://schemas.microsoft.com/office/drawing/2014/main" id="{D1D02DB0-693C-4911-86D0-A66FBC47573C}"/>
                  </a:ext>
                </a:extLst>
              </p:cNvPr>
              <p:cNvSpPr/>
              <p:nvPr/>
            </p:nvSpPr>
            <p:spPr>
              <a:xfrm>
                <a:off x="4025500" y="2947525"/>
                <a:ext cx="910850" cy="1288575"/>
              </a:xfrm>
              <a:custGeom>
                <a:avLst/>
                <a:gdLst/>
                <a:ahLst/>
                <a:cxnLst/>
                <a:rect l="l" t="t" r="r" b="b"/>
                <a:pathLst>
                  <a:path w="36434" h="51543" extrusionOk="0">
                    <a:moveTo>
                      <a:pt x="0" y="0"/>
                    </a:moveTo>
                    <a:lnTo>
                      <a:pt x="0" y="51542"/>
                    </a:lnTo>
                    <a:cubicBezTo>
                      <a:pt x="15" y="51542"/>
                      <a:pt x="30" y="51542"/>
                      <a:pt x="45" y="51542"/>
                    </a:cubicBezTo>
                    <a:cubicBezTo>
                      <a:pt x="13697" y="51542"/>
                      <a:pt x="26788" y="46114"/>
                      <a:pt x="36433" y="36445"/>
                    </a:cubicBezTo>
                    <a:lnTo>
                      <a:pt x="0" y="0"/>
                    </a:lnTo>
                    <a:close/>
                  </a:path>
                </a:pathLst>
              </a:custGeom>
              <a:solidFill>
                <a:srgbClr val="324275"/>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4" name="Google Shape;1582;p43">
                <a:extLst>
                  <a:ext uri="{FF2B5EF4-FFF2-40B4-BE49-F238E27FC236}">
                    <a16:creationId xmlns:a16="http://schemas.microsoft.com/office/drawing/2014/main" id="{5B101802-0AD6-4A3D-A515-ED99EDC03475}"/>
                  </a:ext>
                </a:extLst>
              </p:cNvPr>
              <p:cNvSpPr/>
              <p:nvPr/>
            </p:nvSpPr>
            <p:spPr>
              <a:xfrm>
                <a:off x="4025500" y="2947525"/>
                <a:ext cx="1288575" cy="911150"/>
              </a:xfrm>
              <a:custGeom>
                <a:avLst/>
                <a:gdLst/>
                <a:ahLst/>
                <a:cxnLst/>
                <a:rect l="l" t="t" r="r" b="b"/>
                <a:pathLst>
                  <a:path w="51543" h="36446" extrusionOk="0">
                    <a:moveTo>
                      <a:pt x="0" y="0"/>
                    </a:moveTo>
                    <a:lnTo>
                      <a:pt x="36433" y="36445"/>
                    </a:lnTo>
                    <a:cubicBezTo>
                      <a:pt x="46113" y="26789"/>
                      <a:pt x="51542" y="13680"/>
                      <a:pt x="51530" y="0"/>
                    </a:cubicBezTo>
                    <a:close/>
                  </a:path>
                </a:pathLst>
              </a:custGeom>
              <a:solidFill>
                <a:srgbClr val="4F629E"/>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5" name="Google Shape;1583;p43">
                <a:extLst>
                  <a:ext uri="{FF2B5EF4-FFF2-40B4-BE49-F238E27FC236}">
                    <a16:creationId xmlns:a16="http://schemas.microsoft.com/office/drawing/2014/main" id="{5B71F0A2-2654-4ED9-ACDE-7542BEFF56CB}"/>
                  </a:ext>
                </a:extLst>
              </p:cNvPr>
              <p:cNvSpPr/>
              <p:nvPr/>
            </p:nvSpPr>
            <p:spPr>
              <a:xfrm>
                <a:off x="4025500" y="1659250"/>
                <a:ext cx="910850" cy="1288300"/>
              </a:xfrm>
              <a:custGeom>
                <a:avLst/>
                <a:gdLst/>
                <a:ahLst/>
                <a:cxnLst/>
                <a:rect l="l" t="t" r="r" b="b"/>
                <a:pathLst>
                  <a:path w="36434" h="51532" extrusionOk="0">
                    <a:moveTo>
                      <a:pt x="45" y="1"/>
                    </a:moveTo>
                    <a:cubicBezTo>
                      <a:pt x="30" y="1"/>
                      <a:pt x="15" y="1"/>
                      <a:pt x="0" y="1"/>
                    </a:cubicBezTo>
                    <a:lnTo>
                      <a:pt x="0" y="51531"/>
                    </a:lnTo>
                    <a:lnTo>
                      <a:pt x="36433" y="15098"/>
                    </a:lnTo>
                    <a:cubicBezTo>
                      <a:pt x="26788" y="5429"/>
                      <a:pt x="13697" y="1"/>
                      <a:pt x="45" y="1"/>
                    </a:cubicBezTo>
                    <a:close/>
                  </a:path>
                </a:pathLst>
              </a:custGeom>
              <a:solidFill>
                <a:srgbClr val="58B9D2"/>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6" name="Google Shape;1584;p43">
                <a:extLst>
                  <a:ext uri="{FF2B5EF4-FFF2-40B4-BE49-F238E27FC236}">
                    <a16:creationId xmlns:a16="http://schemas.microsoft.com/office/drawing/2014/main" id="{B5D4CFD3-82B7-4FCB-B67B-A307DE4F3184}"/>
                  </a:ext>
                </a:extLst>
              </p:cNvPr>
              <p:cNvSpPr/>
              <p:nvPr/>
            </p:nvSpPr>
            <p:spPr>
              <a:xfrm>
                <a:off x="4025500" y="2036700"/>
                <a:ext cx="1288575" cy="910850"/>
              </a:xfrm>
              <a:custGeom>
                <a:avLst/>
                <a:gdLst/>
                <a:ahLst/>
                <a:cxnLst/>
                <a:rect l="l" t="t" r="r" b="b"/>
                <a:pathLst>
                  <a:path w="51543" h="36434" extrusionOk="0">
                    <a:moveTo>
                      <a:pt x="36433" y="0"/>
                    </a:moveTo>
                    <a:lnTo>
                      <a:pt x="0" y="36433"/>
                    </a:lnTo>
                    <a:lnTo>
                      <a:pt x="51530" y="36433"/>
                    </a:lnTo>
                    <a:cubicBezTo>
                      <a:pt x="51542" y="22765"/>
                      <a:pt x="46113" y="9656"/>
                      <a:pt x="36433" y="0"/>
                    </a:cubicBezTo>
                    <a:close/>
                  </a:path>
                </a:pathLst>
              </a:custGeom>
              <a:solidFill>
                <a:srgbClr val="3686C2"/>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7" name="Google Shape;1585;p43">
                <a:extLst>
                  <a:ext uri="{FF2B5EF4-FFF2-40B4-BE49-F238E27FC236}">
                    <a16:creationId xmlns:a16="http://schemas.microsoft.com/office/drawing/2014/main" id="{6798F8E8-5BDE-4B21-8BA9-F480D0CDB27C}"/>
                  </a:ext>
                </a:extLst>
              </p:cNvPr>
              <p:cNvSpPr/>
              <p:nvPr/>
            </p:nvSpPr>
            <p:spPr>
              <a:xfrm>
                <a:off x="2846475" y="2361125"/>
                <a:ext cx="963525" cy="1173125"/>
              </a:xfrm>
              <a:custGeom>
                <a:avLst/>
                <a:gdLst/>
                <a:ahLst/>
                <a:cxnLst/>
                <a:rect l="l" t="t" r="r" b="b"/>
                <a:pathLst>
                  <a:path w="38541" h="46925" extrusionOk="0">
                    <a:moveTo>
                      <a:pt x="23461" y="0"/>
                    </a:moveTo>
                    <a:cubicBezTo>
                      <a:pt x="10514" y="0"/>
                      <a:pt x="0" y="10496"/>
                      <a:pt x="0" y="23456"/>
                    </a:cubicBezTo>
                    <a:cubicBezTo>
                      <a:pt x="0" y="36428"/>
                      <a:pt x="10514" y="46924"/>
                      <a:pt x="23461" y="46924"/>
                    </a:cubicBezTo>
                    <a:cubicBezTo>
                      <a:pt x="23527" y="46924"/>
                      <a:pt x="23592" y="46924"/>
                      <a:pt x="23658" y="46923"/>
                    </a:cubicBezTo>
                    <a:lnTo>
                      <a:pt x="38541" y="46923"/>
                    </a:lnTo>
                    <a:lnTo>
                      <a:pt x="38541" y="1"/>
                    </a:lnTo>
                    <a:lnTo>
                      <a:pt x="23658" y="1"/>
                    </a:lnTo>
                    <a:cubicBezTo>
                      <a:pt x="23592" y="0"/>
                      <a:pt x="23527" y="0"/>
                      <a:pt x="23461" y="0"/>
                    </a:cubicBezTo>
                    <a:close/>
                  </a:path>
                </a:pathLst>
              </a:custGeom>
              <a:solidFill>
                <a:srgbClr val="FAB847"/>
              </a:solidFill>
              <a:ln w="38100"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8" name="Google Shape;1586;p43">
                <a:extLst>
                  <a:ext uri="{FF2B5EF4-FFF2-40B4-BE49-F238E27FC236}">
                    <a16:creationId xmlns:a16="http://schemas.microsoft.com/office/drawing/2014/main" id="{75FD7D4F-5758-4566-AF9F-5080F348869A}"/>
                  </a:ext>
                </a:extLst>
              </p:cNvPr>
              <p:cNvSpPr/>
              <p:nvPr/>
            </p:nvSpPr>
            <p:spPr>
              <a:xfrm>
                <a:off x="3810000" y="2361125"/>
                <a:ext cx="958775" cy="1173100"/>
              </a:xfrm>
              <a:custGeom>
                <a:avLst/>
                <a:gdLst/>
                <a:ahLst/>
                <a:cxnLst/>
                <a:rect l="l" t="t" r="r" b="b"/>
                <a:pathLst>
                  <a:path w="38351" h="46924" extrusionOk="0">
                    <a:moveTo>
                      <a:pt x="0" y="1"/>
                    </a:moveTo>
                    <a:lnTo>
                      <a:pt x="0" y="46923"/>
                    </a:lnTo>
                    <a:lnTo>
                      <a:pt x="14883" y="46923"/>
                    </a:lnTo>
                    <a:cubicBezTo>
                      <a:pt x="27837" y="46923"/>
                      <a:pt x="38350" y="36422"/>
                      <a:pt x="38350" y="23456"/>
                    </a:cubicBezTo>
                    <a:cubicBezTo>
                      <a:pt x="38350" y="10502"/>
                      <a:pt x="27837" y="1"/>
                      <a:pt x="14883" y="1"/>
                    </a:cubicBezTo>
                    <a:close/>
                  </a:path>
                </a:pathLst>
              </a:custGeom>
              <a:solidFill>
                <a:srgbClr val="58B9D2"/>
              </a:solidFill>
              <a:ln w="38100"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197" name="Google Shape;1587;p43">
              <a:extLst>
                <a:ext uri="{FF2B5EF4-FFF2-40B4-BE49-F238E27FC236}">
                  <a16:creationId xmlns:a16="http://schemas.microsoft.com/office/drawing/2014/main" id="{48C52E32-5B9B-4D6D-8B7B-C2EBB6F37A9F}"/>
                </a:ext>
              </a:extLst>
            </p:cNvPr>
            <p:cNvSpPr txBox="1"/>
            <p:nvPr/>
          </p:nvSpPr>
          <p:spPr>
            <a:xfrm>
              <a:off x="3617275" y="2790775"/>
              <a:ext cx="954600" cy="313800"/>
            </a:xfrm>
            <a:prstGeom prst="rect">
              <a:avLst/>
            </a:prstGeom>
            <a:noFill/>
            <a:ln>
              <a:noFill/>
            </a:ln>
          </p:spPr>
          <p:txBody>
            <a:bodyPr spcFirstLastPara="1" wrap="square" lIns="121900" tIns="121900" rIns="121900" bIns="12190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b="1" i="0" u="none" strike="noStrike" kern="0" cap="none" spc="0" normalizeH="0" baseline="0" noProof="0" dirty="0">
                  <a:ln>
                    <a:noFill/>
                  </a:ln>
                  <a:solidFill>
                    <a:srgbClr val="FFFFFF"/>
                  </a:solidFill>
                  <a:effectLst/>
                  <a:uLnTx/>
                  <a:uFillTx/>
                  <a:latin typeface="Times New Roman" panose="02020603050405020304" pitchFamily="18" charset="0"/>
                  <a:ea typeface="Fira Sans Extra Condensed Medium"/>
                  <a:cs typeface="Times New Roman" panose="02020603050405020304" pitchFamily="18" charset="0"/>
                  <a:sym typeface="Fira Sans Extra Condensed Medium"/>
                </a:rPr>
                <a:t>2016-2020</a:t>
              </a:r>
              <a:endParaRPr kumimoji="0" b="1" i="0" u="none" strike="noStrike" kern="0" cap="none" spc="0" normalizeH="0" baseline="0" noProof="0" dirty="0">
                <a:ln>
                  <a:noFill/>
                </a:ln>
                <a:solidFill>
                  <a:srgbClr val="FFFFFF"/>
                </a:solidFill>
                <a:effectLst/>
                <a:uLnTx/>
                <a:uFillTx/>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98" name="Google Shape;1588;p43">
              <a:extLst>
                <a:ext uri="{FF2B5EF4-FFF2-40B4-BE49-F238E27FC236}">
                  <a16:creationId xmlns:a16="http://schemas.microsoft.com/office/drawing/2014/main" id="{07D94252-2C89-4801-92D6-5C07A44AE0B0}"/>
                </a:ext>
              </a:extLst>
            </p:cNvPr>
            <p:cNvSpPr txBox="1"/>
            <p:nvPr/>
          </p:nvSpPr>
          <p:spPr>
            <a:xfrm>
              <a:off x="4571875" y="2790775"/>
              <a:ext cx="954600" cy="313800"/>
            </a:xfrm>
            <a:prstGeom prst="rect">
              <a:avLst/>
            </a:prstGeom>
            <a:noFill/>
            <a:ln>
              <a:noFill/>
            </a:ln>
          </p:spPr>
          <p:txBody>
            <a:bodyPr spcFirstLastPara="1" wrap="square" lIns="121900" tIns="121900" rIns="121900" bIns="121900" anchor="ctr" anchorCtr="0">
              <a:noAutofit/>
            </a:bodyPr>
            <a:lstStyle/>
            <a:p>
              <a:pPr marL="0" marR="0" lvl="0" indent="0" algn="ctr" defTabSz="1219170" eaLnBrk="1" fontAlgn="auto" latinLnBrk="0" hangingPunct="1">
                <a:lnSpc>
                  <a:spcPct val="100000"/>
                </a:lnSpc>
                <a:spcBef>
                  <a:spcPts val="0"/>
                </a:spcBef>
                <a:spcAft>
                  <a:spcPts val="0"/>
                </a:spcAft>
                <a:buClr>
                  <a:srgbClr val="000000"/>
                </a:buClr>
                <a:buSzTx/>
                <a:buFontTx/>
                <a:buNone/>
                <a:tabLst/>
                <a:defRPr/>
              </a:pPr>
              <a:r>
                <a:rPr kumimoji="0" lang="en" b="1" i="0" u="none" strike="noStrike" kern="0" cap="none" spc="0" normalizeH="0" baseline="0" noProof="0" dirty="0">
                  <a:ln>
                    <a:noFill/>
                  </a:ln>
                  <a:solidFill>
                    <a:srgbClr val="FFFFFF"/>
                  </a:solidFill>
                  <a:effectLst/>
                  <a:uLnTx/>
                  <a:uFillTx/>
                  <a:latin typeface="Times New Roman" panose="02020603050405020304" pitchFamily="18" charset="0"/>
                  <a:ea typeface="Fira Sans Extra Condensed Medium"/>
                  <a:cs typeface="Times New Roman" panose="02020603050405020304" pitchFamily="18" charset="0"/>
                  <a:sym typeface="Fira Sans Extra Condensed Medium"/>
                </a:rPr>
                <a:t>2021-2025</a:t>
              </a:r>
              <a:endParaRPr kumimoji="0" b="1" i="0" u="none" strike="noStrike" kern="0" cap="none" spc="0" normalizeH="0" baseline="0" noProof="0" dirty="0">
                <a:ln>
                  <a:noFill/>
                </a:ln>
                <a:solidFill>
                  <a:srgbClr val="FFFFFF"/>
                </a:solidFill>
                <a:effectLst/>
                <a:uLnTx/>
                <a:uFillTx/>
                <a:latin typeface="Times New Roman" panose="02020603050405020304" pitchFamily="18" charset="0"/>
                <a:ea typeface="Fira Sans Extra Condensed Medium"/>
                <a:cs typeface="Times New Roman" panose="02020603050405020304" pitchFamily="18" charset="0"/>
                <a:sym typeface="Fira Sans Extra Condensed Medium"/>
              </a:endParaRPr>
            </a:p>
          </p:txBody>
        </p:sp>
      </p:grpSp>
      <p:grpSp>
        <p:nvGrpSpPr>
          <p:cNvPr id="212" name="Google Shape;1592;p43">
            <a:extLst>
              <a:ext uri="{FF2B5EF4-FFF2-40B4-BE49-F238E27FC236}">
                <a16:creationId xmlns:a16="http://schemas.microsoft.com/office/drawing/2014/main" id="{15D8F077-48FF-414E-A4FB-B2DE8899BE45}"/>
              </a:ext>
            </a:extLst>
          </p:cNvPr>
          <p:cNvGrpSpPr/>
          <p:nvPr/>
        </p:nvGrpSpPr>
        <p:grpSpPr>
          <a:xfrm>
            <a:off x="3768779" y="3068306"/>
            <a:ext cx="392224" cy="373073"/>
            <a:chOff x="-6690625" y="3631325"/>
            <a:chExt cx="307225" cy="292225"/>
          </a:xfrm>
        </p:grpSpPr>
        <p:sp>
          <p:nvSpPr>
            <p:cNvPr id="213" name="Google Shape;1593;p43">
              <a:extLst>
                <a:ext uri="{FF2B5EF4-FFF2-40B4-BE49-F238E27FC236}">
                  <a16:creationId xmlns:a16="http://schemas.microsoft.com/office/drawing/2014/main" id="{D109F7D2-1328-4CA5-AD56-165AB1EDC964}"/>
                </a:ext>
              </a:extLst>
            </p:cNvPr>
            <p:cNvSpPr/>
            <p:nvPr/>
          </p:nvSpPr>
          <p:spPr>
            <a:xfrm>
              <a:off x="-6690625" y="3631325"/>
              <a:ext cx="222925" cy="292225"/>
            </a:xfrm>
            <a:custGeom>
              <a:avLst/>
              <a:gdLst/>
              <a:ahLst/>
              <a:cxnLst/>
              <a:rect l="l" t="t" r="r" b="b"/>
              <a:pathLst>
                <a:path w="8917" h="11689" extrusionOk="0">
                  <a:moveTo>
                    <a:pt x="5861" y="2773"/>
                  </a:moveTo>
                  <a:cubicBezTo>
                    <a:pt x="6270" y="2773"/>
                    <a:pt x="6333" y="3435"/>
                    <a:pt x="5861" y="3435"/>
                  </a:cubicBezTo>
                  <a:lnTo>
                    <a:pt x="3813" y="3435"/>
                  </a:lnTo>
                  <a:cubicBezTo>
                    <a:pt x="3372" y="3435"/>
                    <a:pt x="3340" y="2773"/>
                    <a:pt x="3813" y="2773"/>
                  </a:cubicBezTo>
                  <a:close/>
                  <a:moveTo>
                    <a:pt x="2742" y="0"/>
                  </a:moveTo>
                  <a:lnTo>
                    <a:pt x="2742" y="2395"/>
                  </a:lnTo>
                  <a:cubicBezTo>
                    <a:pt x="2742" y="2584"/>
                    <a:pt x="2584" y="2741"/>
                    <a:pt x="2395" y="2741"/>
                  </a:cubicBezTo>
                  <a:lnTo>
                    <a:pt x="1" y="2741"/>
                  </a:lnTo>
                  <a:lnTo>
                    <a:pt x="1" y="10649"/>
                  </a:lnTo>
                  <a:cubicBezTo>
                    <a:pt x="1" y="11216"/>
                    <a:pt x="473" y="11689"/>
                    <a:pt x="1009" y="11689"/>
                  </a:cubicBezTo>
                  <a:lnTo>
                    <a:pt x="7909" y="11689"/>
                  </a:lnTo>
                  <a:cubicBezTo>
                    <a:pt x="8444" y="11689"/>
                    <a:pt x="8917" y="11248"/>
                    <a:pt x="8917" y="10649"/>
                  </a:cubicBezTo>
                  <a:lnTo>
                    <a:pt x="8917" y="7751"/>
                  </a:lnTo>
                  <a:lnTo>
                    <a:pt x="6491" y="10177"/>
                  </a:lnTo>
                  <a:cubicBezTo>
                    <a:pt x="6491" y="10271"/>
                    <a:pt x="6428" y="10303"/>
                    <a:pt x="6365" y="10303"/>
                  </a:cubicBezTo>
                  <a:lnTo>
                    <a:pt x="4317" y="10901"/>
                  </a:lnTo>
                  <a:cubicBezTo>
                    <a:pt x="4198" y="10938"/>
                    <a:pt x="4080" y="10955"/>
                    <a:pt x="3967" y="10955"/>
                  </a:cubicBezTo>
                  <a:cubicBezTo>
                    <a:pt x="3209" y="10955"/>
                    <a:pt x="2625" y="10192"/>
                    <a:pt x="2899" y="9452"/>
                  </a:cubicBezTo>
                  <a:lnTo>
                    <a:pt x="3057" y="8979"/>
                  </a:lnTo>
                  <a:lnTo>
                    <a:pt x="1765" y="8979"/>
                  </a:lnTo>
                  <a:cubicBezTo>
                    <a:pt x="1324" y="8979"/>
                    <a:pt x="1293" y="8255"/>
                    <a:pt x="1765" y="8255"/>
                  </a:cubicBezTo>
                  <a:lnTo>
                    <a:pt x="3277" y="8255"/>
                  </a:lnTo>
                  <a:lnTo>
                    <a:pt x="3529" y="7593"/>
                  </a:lnTo>
                  <a:lnTo>
                    <a:pt x="1797" y="7593"/>
                  </a:lnTo>
                  <a:cubicBezTo>
                    <a:pt x="1356" y="7593"/>
                    <a:pt x="1324" y="6869"/>
                    <a:pt x="1797" y="6869"/>
                  </a:cubicBezTo>
                  <a:lnTo>
                    <a:pt x="4034" y="6869"/>
                  </a:lnTo>
                  <a:lnTo>
                    <a:pt x="4695" y="6207"/>
                  </a:lnTo>
                  <a:lnTo>
                    <a:pt x="1765" y="6207"/>
                  </a:lnTo>
                  <a:cubicBezTo>
                    <a:pt x="1324" y="6207"/>
                    <a:pt x="1293" y="5514"/>
                    <a:pt x="1765" y="5514"/>
                  </a:cubicBezTo>
                  <a:lnTo>
                    <a:pt x="5388" y="5514"/>
                  </a:lnTo>
                  <a:lnTo>
                    <a:pt x="6050" y="4821"/>
                  </a:lnTo>
                  <a:lnTo>
                    <a:pt x="1734" y="4821"/>
                  </a:lnTo>
                  <a:cubicBezTo>
                    <a:pt x="1293" y="4821"/>
                    <a:pt x="1261" y="4128"/>
                    <a:pt x="1734" y="4128"/>
                  </a:cubicBezTo>
                  <a:lnTo>
                    <a:pt x="6711" y="4128"/>
                  </a:lnTo>
                  <a:cubicBezTo>
                    <a:pt x="6963" y="3876"/>
                    <a:pt x="8696" y="2080"/>
                    <a:pt x="8917" y="1891"/>
                  </a:cubicBezTo>
                  <a:lnTo>
                    <a:pt x="8917" y="1009"/>
                  </a:lnTo>
                  <a:cubicBezTo>
                    <a:pt x="8917" y="473"/>
                    <a:pt x="8507" y="0"/>
                    <a:pt x="790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14" name="Google Shape;1594;p43">
              <a:extLst>
                <a:ext uri="{FF2B5EF4-FFF2-40B4-BE49-F238E27FC236}">
                  <a16:creationId xmlns:a16="http://schemas.microsoft.com/office/drawing/2014/main" id="{869A3781-A4CC-4035-8A03-A97804EFCE44}"/>
                </a:ext>
              </a:extLst>
            </p:cNvPr>
            <p:cNvSpPr/>
            <p:nvPr/>
          </p:nvSpPr>
          <p:spPr>
            <a:xfrm>
              <a:off x="-6604350" y="3832175"/>
              <a:ext cx="58675" cy="56550"/>
            </a:xfrm>
            <a:custGeom>
              <a:avLst/>
              <a:gdLst/>
              <a:ahLst/>
              <a:cxnLst/>
              <a:rect l="l" t="t" r="r" b="b"/>
              <a:pathLst>
                <a:path w="2347" h="2262" extrusionOk="0">
                  <a:moveTo>
                    <a:pt x="614" y="0"/>
                  </a:moveTo>
                  <a:lnTo>
                    <a:pt x="110" y="1607"/>
                  </a:lnTo>
                  <a:cubicBezTo>
                    <a:pt x="1" y="1934"/>
                    <a:pt x="222" y="2262"/>
                    <a:pt x="550" y="2262"/>
                  </a:cubicBezTo>
                  <a:cubicBezTo>
                    <a:pt x="600" y="2262"/>
                    <a:pt x="654" y="2254"/>
                    <a:pt x="709" y="2237"/>
                  </a:cubicBezTo>
                  <a:lnTo>
                    <a:pt x="2347" y="1701"/>
                  </a:lnTo>
                  <a:lnTo>
                    <a:pt x="614" y="0"/>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15" name="Google Shape;1595;p43">
              <a:extLst>
                <a:ext uri="{FF2B5EF4-FFF2-40B4-BE49-F238E27FC236}">
                  <a16:creationId xmlns:a16="http://schemas.microsoft.com/office/drawing/2014/main" id="{D5810BE8-760B-4067-AA70-CA9098B726F2}"/>
                </a:ext>
              </a:extLst>
            </p:cNvPr>
            <p:cNvSpPr/>
            <p:nvPr/>
          </p:nvSpPr>
          <p:spPr>
            <a:xfrm>
              <a:off x="-6470875" y="3684775"/>
              <a:ext cx="87475" cy="71800"/>
            </a:xfrm>
            <a:custGeom>
              <a:avLst/>
              <a:gdLst/>
              <a:ahLst/>
              <a:cxnLst/>
              <a:rect l="l" t="t" r="r" b="b"/>
              <a:pathLst>
                <a:path w="3499" h="2872" extrusionOk="0">
                  <a:moveTo>
                    <a:pt x="1479" y="1"/>
                  </a:moveTo>
                  <a:cubicBezTo>
                    <a:pt x="1176" y="1"/>
                    <a:pt x="868" y="114"/>
                    <a:pt x="599" y="383"/>
                  </a:cubicBezTo>
                  <a:lnTo>
                    <a:pt x="1" y="950"/>
                  </a:lnTo>
                  <a:lnTo>
                    <a:pt x="1954" y="2872"/>
                  </a:lnTo>
                  <a:lnTo>
                    <a:pt x="2521" y="2305"/>
                  </a:lnTo>
                  <a:cubicBezTo>
                    <a:pt x="3498" y="1352"/>
                    <a:pt x="2524" y="1"/>
                    <a:pt x="147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16" name="Google Shape;1596;p43">
              <a:extLst>
                <a:ext uri="{FF2B5EF4-FFF2-40B4-BE49-F238E27FC236}">
                  <a16:creationId xmlns:a16="http://schemas.microsoft.com/office/drawing/2014/main" id="{29F90E60-D040-496B-84C0-48E2E017E949}"/>
                </a:ext>
              </a:extLst>
            </p:cNvPr>
            <p:cNvSpPr/>
            <p:nvPr/>
          </p:nvSpPr>
          <p:spPr>
            <a:xfrm>
              <a:off x="-6578775" y="3721900"/>
              <a:ext cx="143375" cy="143375"/>
            </a:xfrm>
            <a:custGeom>
              <a:avLst/>
              <a:gdLst/>
              <a:ahLst/>
              <a:cxnLst/>
              <a:rect l="l" t="t" r="r" b="b"/>
              <a:pathLst>
                <a:path w="5735" h="5735" extrusionOk="0">
                  <a:moveTo>
                    <a:pt x="3813" y="1"/>
                  </a:moveTo>
                  <a:lnTo>
                    <a:pt x="1" y="3813"/>
                  </a:lnTo>
                  <a:lnTo>
                    <a:pt x="1922" y="5734"/>
                  </a:lnTo>
                  <a:lnTo>
                    <a:pt x="4474" y="3183"/>
                  </a:lnTo>
                  <a:lnTo>
                    <a:pt x="5734" y="1922"/>
                  </a:lnTo>
                  <a:lnTo>
                    <a:pt x="3813"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17" name="Google Shape;1597;p43">
              <a:extLst>
                <a:ext uri="{FF2B5EF4-FFF2-40B4-BE49-F238E27FC236}">
                  <a16:creationId xmlns:a16="http://schemas.microsoft.com/office/drawing/2014/main" id="{0B2F3328-EDE2-4484-B765-7642DC61F2BC}"/>
                </a:ext>
              </a:extLst>
            </p:cNvPr>
            <p:cNvSpPr/>
            <p:nvPr/>
          </p:nvSpPr>
          <p:spPr>
            <a:xfrm>
              <a:off x="-6685100" y="3636850"/>
              <a:ext cx="47275" cy="46475"/>
            </a:xfrm>
            <a:custGeom>
              <a:avLst/>
              <a:gdLst/>
              <a:ahLst/>
              <a:cxnLst/>
              <a:rect l="l" t="t" r="r" b="b"/>
              <a:pathLst>
                <a:path w="1891" h="1859" extrusionOk="0">
                  <a:moveTo>
                    <a:pt x="1891" y="0"/>
                  </a:moveTo>
                  <a:lnTo>
                    <a:pt x="0" y="1859"/>
                  </a:lnTo>
                  <a:lnTo>
                    <a:pt x="1891" y="1859"/>
                  </a:lnTo>
                  <a:lnTo>
                    <a:pt x="1891" y="0"/>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19" name="Google Shape;1599;p43">
            <a:extLst>
              <a:ext uri="{FF2B5EF4-FFF2-40B4-BE49-F238E27FC236}">
                <a16:creationId xmlns:a16="http://schemas.microsoft.com/office/drawing/2014/main" id="{1A84221F-1833-445E-9F33-AEA7CFAE6323}"/>
              </a:ext>
            </a:extLst>
          </p:cNvPr>
          <p:cNvSpPr txBox="1"/>
          <p:nvPr/>
        </p:nvSpPr>
        <p:spPr>
          <a:xfrm>
            <a:off x="194491" y="2043365"/>
            <a:ext cx="3123640" cy="1105297"/>
          </a:xfrm>
          <a:prstGeom prst="rect">
            <a:avLst/>
          </a:prstGeom>
          <a:noFill/>
          <a:ln>
            <a:noFill/>
          </a:ln>
        </p:spPr>
        <p:txBody>
          <a:bodyPr spcFirstLastPara="1" wrap="square" lIns="121900" tIns="121900" rIns="121900" bIns="121900" anchor="ctr" anchorCtr="0">
            <a:noAutofit/>
          </a:bodyPr>
          <a:lstStyle/>
          <a:p>
            <a:pPr algn="just" defTabSz="1219170">
              <a:buClr>
                <a:srgbClr val="000000"/>
              </a:buClr>
            </a:pPr>
            <a:r>
              <a:rPr lang="en-US" b="1" kern="0" dirty="0">
                <a:solidFill>
                  <a:srgbClr val="FAB847"/>
                </a:solidFill>
                <a:latin typeface="Times New Roman" panose="02020603050405020304" pitchFamily="18" charset="0"/>
                <a:cs typeface="Times New Roman" panose="02020603050405020304" pitchFamily="18" charset="0"/>
                <a:sym typeface="Roboto"/>
              </a:rPr>
              <a:t>1. </a:t>
            </a:r>
            <a:r>
              <a:rPr lang="en-US" b="1" kern="0" dirty="0" err="1">
                <a:solidFill>
                  <a:srgbClr val="FAB847"/>
                </a:solidFill>
                <a:latin typeface="Times New Roman" panose="02020603050405020304" pitchFamily="18" charset="0"/>
                <a:cs typeface="Times New Roman" panose="02020603050405020304" pitchFamily="18" charset="0"/>
                <a:sym typeface="Roboto"/>
              </a:rPr>
              <a:t>Chưa</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xây</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dựng</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chính</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sách</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cụ</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thể</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trong</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công</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tác</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quy</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hoạch</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đối</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với</a:t>
            </a:r>
            <a:r>
              <a:rPr lang="en-US" b="1" kern="0" dirty="0">
                <a:solidFill>
                  <a:srgbClr val="FAB847"/>
                </a:solidFill>
                <a:latin typeface="Times New Roman" panose="02020603050405020304" pitchFamily="18" charset="0"/>
                <a:cs typeface="Times New Roman" panose="02020603050405020304" pitchFamily="18" charset="0"/>
                <a:sym typeface="Roboto"/>
              </a:rPr>
              <a:t> lao </a:t>
            </a:r>
            <a:r>
              <a:rPr lang="en-US" b="1" kern="0" dirty="0" err="1">
                <a:solidFill>
                  <a:srgbClr val="FAB847"/>
                </a:solidFill>
                <a:latin typeface="Times New Roman" panose="02020603050405020304" pitchFamily="18" charset="0"/>
                <a:cs typeface="Times New Roman" panose="02020603050405020304" pitchFamily="18" charset="0"/>
                <a:sym typeface="Roboto"/>
              </a:rPr>
              <a:t>động</a:t>
            </a:r>
            <a:r>
              <a:rPr lang="en-US" b="1" kern="0" dirty="0">
                <a:solidFill>
                  <a:srgbClr val="FAB847"/>
                </a:solidFill>
                <a:latin typeface="Times New Roman" panose="02020603050405020304" pitchFamily="18" charset="0"/>
                <a:cs typeface="Times New Roman" panose="02020603050405020304" pitchFamily="18" charset="0"/>
                <a:sym typeface="Roboto"/>
              </a:rPr>
              <a:t> </a:t>
            </a:r>
            <a:r>
              <a:rPr lang="en-US" b="1" kern="0" dirty="0" err="1">
                <a:solidFill>
                  <a:srgbClr val="FAB847"/>
                </a:solidFill>
                <a:latin typeface="Times New Roman" panose="02020603050405020304" pitchFamily="18" charset="0"/>
                <a:cs typeface="Times New Roman" panose="02020603050405020304" pitchFamily="18" charset="0"/>
                <a:sym typeface="Roboto"/>
              </a:rPr>
              <a:t>nữ</a:t>
            </a:r>
            <a:r>
              <a:rPr lang="en-US" b="1" kern="0" dirty="0">
                <a:solidFill>
                  <a:srgbClr val="FAB847"/>
                </a:solidFill>
                <a:latin typeface="Times New Roman" panose="02020603050405020304" pitchFamily="18" charset="0"/>
                <a:cs typeface="Times New Roman" panose="02020603050405020304" pitchFamily="18" charset="0"/>
                <a:sym typeface="Roboto"/>
              </a:rPr>
              <a:t>.</a:t>
            </a:r>
          </a:p>
        </p:txBody>
      </p:sp>
      <p:grpSp>
        <p:nvGrpSpPr>
          <p:cNvPr id="221" name="Google Shape;1601;p43">
            <a:extLst>
              <a:ext uri="{FF2B5EF4-FFF2-40B4-BE49-F238E27FC236}">
                <a16:creationId xmlns:a16="http://schemas.microsoft.com/office/drawing/2014/main" id="{BB187B88-039D-4174-902B-2D92D62069AD}"/>
              </a:ext>
            </a:extLst>
          </p:cNvPr>
          <p:cNvGrpSpPr/>
          <p:nvPr/>
        </p:nvGrpSpPr>
        <p:grpSpPr>
          <a:xfrm>
            <a:off x="4493886" y="2419255"/>
            <a:ext cx="375116" cy="375084"/>
            <a:chOff x="-4478975" y="3251700"/>
            <a:chExt cx="293825" cy="293800"/>
          </a:xfrm>
        </p:grpSpPr>
        <p:sp>
          <p:nvSpPr>
            <p:cNvPr id="222" name="Google Shape;1602;p43">
              <a:extLst>
                <a:ext uri="{FF2B5EF4-FFF2-40B4-BE49-F238E27FC236}">
                  <a16:creationId xmlns:a16="http://schemas.microsoft.com/office/drawing/2014/main" id="{C95A7A13-2D2E-4F84-AFC0-EF0D3A144343}"/>
                </a:ext>
              </a:extLst>
            </p:cNvPr>
            <p:cNvSpPr/>
            <p:nvPr/>
          </p:nvSpPr>
          <p:spPr>
            <a:xfrm>
              <a:off x="-4375000" y="3365100"/>
              <a:ext cx="85075" cy="110900"/>
            </a:xfrm>
            <a:custGeom>
              <a:avLst/>
              <a:gdLst/>
              <a:ahLst/>
              <a:cxnLst/>
              <a:rect l="l" t="t" r="r" b="b"/>
              <a:pathLst>
                <a:path w="3403" h="4436" extrusionOk="0">
                  <a:moveTo>
                    <a:pt x="662" y="1"/>
                  </a:moveTo>
                  <a:cubicBezTo>
                    <a:pt x="221" y="316"/>
                    <a:pt x="0" y="820"/>
                    <a:pt x="0" y="1387"/>
                  </a:cubicBezTo>
                  <a:cubicBezTo>
                    <a:pt x="0" y="2080"/>
                    <a:pt x="473" y="2773"/>
                    <a:pt x="1135" y="2994"/>
                  </a:cubicBezTo>
                  <a:cubicBezTo>
                    <a:pt x="1261" y="3025"/>
                    <a:pt x="1355" y="3183"/>
                    <a:pt x="1355" y="3309"/>
                  </a:cubicBezTo>
                  <a:lnTo>
                    <a:pt x="1355" y="4412"/>
                  </a:lnTo>
                  <a:cubicBezTo>
                    <a:pt x="1576" y="4427"/>
                    <a:pt x="1647" y="4435"/>
                    <a:pt x="1714" y="4435"/>
                  </a:cubicBezTo>
                  <a:cubicBezTo>
                    <a:pt x="1780" y="4435"/>
                    <a:pt x="1843" y="4427"/>
                    <a:pt x="2048" y="4412"/>
                  </a:cubicBezTo>
                  <a:lnTo>
                    <a:pt x="2048" y="3309"/>
                  </a:lnTo>
                  <a:cubicBezTo>
                    <a:pt x="2048" y="3151"/>
                    <a:pt x="2111" y="3025"/>
                    <a:pt x="2269" y="2994"/>
                  </a:cubicBezTo>
                  <a:cubicBezTo>
                    <a:pt x="2962" y="2710"/>
                    <a:pt x="3403" y="2080"/>
                    <a:pt x="3403" y="1387"/>
                  </a:cubicBezTo>
                  <a:cubicBezTo>
                    <a:pt x="3403" y="820"/>
                    <a:pt x="3119" y="316"/>
                    <a:pt x="2741" y="1"/>
                  </a:cubicBezTo>
                  <a:lnTo>
                    <a:pt x="2741" y="1387"/>
                  </a:lnTo>
                  <a:cubicBezTo>
                    <a:pt x="2741" y="1576"/>
                    <a:pt x="2584" y="1734"/>
                    <a:pt x="2395" y="1734"/>
                  </a:cubicBezTo>
                  <a:lnTo>
                    <a:pt x="1009" y="1734"/>
                  </a:lnTo>
                  <a:cubicBezTo>
                    <a:pt x="820" y="1734"/>
                    <a:pt x="662" y="1576"/>
                    <a:pt x="662" y="1387"/>
                  </a:cubicBezTo>
                  <a:lnTo>
                    <a:pt x="662"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23" name="Google Shape;1603;p43">
              <a:extLst>
                <a:ext uri="{FF2B5EF4-FFF2-40B4-BE49-F238E27FC236}">
                  <a16:creationId xmlns:a16="http://schemas.microsoft.com/office/drawing/2014/main" id="{5B35724D-54C7-4ADC-A4A6-08A0CAA60E4A}"/>
                </a:ext>
              </a:extLst>
            </p:cNvPr>
            <p:cNvSpPr/>
            <p:nvPr/>
          </p:nvSpPr>
          <p:spPr>
            <a:xfrm>
              <a:off x="-4408875" y="3321800"/>
              <a:ext cx="154400" cy="148875"/>
            </a:xfrm>
            <a:custGeom>
              <a:avLst/>
              <a:gdLst/>
              <a:ahLst/>
              <a:cxnLst/>
              <a:rect l="l" t="t" r="r" b="b"/>
              <a:pathLst>
                <a:path w="6176" h="5955" extrusionOk="0">
                  <a:moveTo>
                    <a:pt x="3057" y="0"/>
                  </a:moveTo>
                  <a:cubicBezTo>
                    <a:pt x="1387" y="0"/>
                    <a:pt x="1" y="1386"/>
                    <a:pt x="1" y="3088"/>
                  </a:cubicBezTo>
                  <a:cubicBezTo>
                    <a:pt x="1" y="4411"/>
                    <a:pt x="851" y="5545"/>
                    <a:pt x="2049" y="5954"/>
                  </a:cubicBezTo>
                  <a:lnTo>
                    <a:pt x="2049" y="5230"/>
                  </a:lnTo>
                  <a:cubicBezTo>
                    <a:pt x="1229" y="4852"/>
                    <a:pt x="662" y="4001"/>
                    <a:pt x="662" y="3088"/>
                  </a:cubicBezTo>
                  <a:cubicBezTo>
                    <a:pt x="662" y="2048"/>
                    <a:pt x="1292" y="1134"/>
                    <a:pt x="2269" y="819"/>
                  </a:cubicBezTo>
                  <a:cubicBezTo>
                    <a:pt x="2307" y="810"/>
                    <a:pt x="2344" y="805"/>
                    <a:pt x="2380" y="805"/>
                  </a:cubicBezTo>
                  <a:cubicBezTo>
                    <a:pt x="2583" y="805"/>
                    <a:pt x="2742" y="947"/>
                    <a:pt x="2742" y="1134"/>
                  </a:cubicBezTo>
                  <a:lnTo>
                    <a:pt x="2742" y="2710"/>
                  </a:lnTo>
                  <a:lnTo>
                    <a:pt x="3435" y="2710"/>
                  </a:lnTo>
                  <a:lnTo>
                    <a:pt x="3435" y="1134"/>
                  </a:lnTo>
                  <a:cubicBezTo>
                    <a:pt x="3435" y="947"/>
                    <a:pt x="3594" y="805"/>
                    <a:pt x="3796" y="805"/>
                  </a:cubicBezTo>
                  <a:cubicBezTo>
                    <a:pt x="3832" y="805"/>
                    <a:pt x="3869" y="810"/>
                    <a:pt x="3907" y="819"/>
                  </a:cubicBezTo>
                  <a:cubicBezTo>
                    <a:pt x="4852" y="1197"/>
                    <a:pt x="5514" y="2079"/>
                    <a:pt x="5514" y="3088"/>
                  </a:cubicBezTo>
                  <a:cubicBezTo>
                    <a:pt x="5514" y="4001"/>
                    <a:pt x="4947" y="4852"/>
                    <a:pt x="4128" y="5230"/>
                  </a:cubicBezTo>
                  <a:lnTo>
                    <a:pt x="4128" y="5954"/>
                  </a:lnTo>
                  <a:cubicBezTo>
                    <a:pt x="5325" y="5513"/>
                    <a:pt x="6176" y="4411"/>
                    <a:pt x="6176" y="3088"/>
                  </a:cubicBezTo>
                  <a:cubicBezTo>
                    <a:pt x="6144" y="1386"/>
                    <a:pt x="4758" y="0"/>
                    <a:pt x="305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24" name="Google Shape;1604;p43">
              <a:extLst>
                <a:ext uri="{FF2B5EF4-FFF2-40B4-BE49-F238E27FC236}">
                  <a16:creationId xmlns:a16="http://schemas.microsoft.com/office/drawing/2014/main" id="{83AF8CB0-7DEF-4673-813A-2D14768DA0F3}"/>
                </a:ext>
              </a:extLst>
            </p:cNvPr>
            <p:cNvSpPr/>
            <p:nvPr/>
          </p:nvSpPr>
          <p:spPr>
            <a:xfrm>
              <a:off x="-4478975" y="3251700"/>
              <a:ext cx="293825" cy="293800"/>
            </a:xfrm>
            <a:custGeom>
              <a:avLst/>
              <a:gdLst/>
              <a:ahLst/>
              <a:cxnLst/>
              <a:rect l="l" t="t" r="r" b="b"/>
              <a:pathLst>
                <a:path w="11753" h="11752" extrusionOk="0">
                  <a:moveTo>
                    <a:pt x="5861" y="2111"/>
                  </a:moveTo>
                  <a:cubicBezTo>
                    <a:pt x="7972" y="2111"/>
                    <a:pt x="9641" y="3781"/>
                    <a:pt x="9641" y="5892"/>
                  </a:cubicBezTo>
                  <a:cubicBezTo>
                    <a:pt x="9610" y="7971"/>
                    <a:pt x="7909" y="9672"/>
                    <a:pt x="5861" y="9672"/>
                  </a:cubicBezTo>
                  <a:cubicBezTo>
                    <a:pt x="3781" y="9672"/>
                    <a:pt x="2080" y="7971"/>
                    <a:pt x="2080" y="5892"/>
                  </a:cubicBezTo>
                  <a:cubicBezTo>
                    <a:pt x="2080" y="3781"/>
                    <a:pt x="3781" y="2111"/>
                    <a:pt x="5861" y="2111"/>
                  </a:cubicBezTo>
                  <a:close/>
                  <a:moveTo>
                    <a:pt x="5168" y="0"/>
                  </a:moveTo>
                  <a:cubicBezTo>
                    <a:pt x="5010" y="0"/>
                    <a:pt x="4884" y="126"/>
                    <a:pt x="4853" y="284"/>
                  </a:cubicBezTo>
                  <a:lnTo>
                    <a:pt x="4695" y="882"/>
                  </a:lnTo>
                  <a:cubicBezTo>
                    <a:pt x="4128" y="1008"/>
                    <a:pt x="3624" y="1229"/>
                    <a:pt x="3120" y="1512"/>
                  </a:cubicBezTo>
                  <a:lnTo>
                    <a:pt x="2616" y="1197"/>
                  </a:lnTo>
                  <a:cubicBezTo>
                    <a:pt x="2557" y="1153"/>
                    <a:pt x="2485" y="1130"/>
                    <a:pt x="2412" y="1130"/>
                  </a:cubicBezTo>
                  <a:cubicBezTo>
                    <a:pt x="2328" y="1130"/>
                    <a:pt x="2242" y="1161"/>
                    <a:pt x="2175" y="1229"/>
                  </a:cubicBezTo>
                  <a:lnTo>
                    <a:pt x="1198" y="2205"/>
                  </a:lnTo>
                  <a:cubicBezTo>
                    <a:pt x="1072" y="2332"/>
                    <a:pt x="1072" y="2489"/>
                    <a:pt x="1135" y="2647"/>
                  </a:cubicBezTo>
                  <a:lnTo>
                    <a:pt x="1450" y="3151"/>
                  </a:lnTo>
                  <a:cubicBezTo>
                    <a:pt x="1135" y="3623"/>
                    <a:pt x="946" y="4190"/>
                    <a:pt x="820" y="4726"/>
                  </a:cubicBezTo>
                  <a:lnTo>
                    <a:pt x="284" y="4883"/>
                  </a:lnTo>
                  <a:cubicBezTo>
                    <a:pt x="127" y="4946"/>
                    <a:pt x="1" y="5041"/>
                    <a:pt x="1" y="5198"/>
                  </a:cubicBezTo>
                  <a:lnTo>
                    <a:pt x="1" y="6585"/>
                  </a:lnTo>
                  <a:cubicBezTo>
                    <a:pt x="1" y="6742"/>
                    <a:pt x="127" y="6868"/>
                    <a:pt x="284" y="6900"/>
                  </a:cubicBezTo>
                  <a:lnTo>
                    <a:pt x="820" y="7057"/>
                  </a:lnTo>
                  <a:cubicBezTo>
                    <a:pt x="946" y="7593"/>
                    <a:pt x="1198" y="8128"/>
                    <a:pt x="1450" y="8632"/>
                  </a:cubicBezTo>
                  <a:lnTo>
                    <a:pt x="1135" y="9137"/>
                  </a:lnTo>
                  <a:cubicBezTo>
                    <a:pt x="1072" y="9263"/>
                    <a:pt x="1072" y="9452"/>
                    <a:pt x="1198" y="9578"/>
                  </a:cubicBezTo>
                  <a:lnTo>
                    <a:pt x="2175" y="10554"/>
                  </a:lnTo>
                  <a:cubicBezTo>
                    <a:pt x="2248" y="10628"/>
                    <a:pt x="2333" y="10659"/>
                    <a:pt x="2422" y="10659"/>
                  </a:cubicBezTo>
                  <a:cubicBezTo>
                    <a:pt x="2485" y="10659"/>
                    <a:pt x="2550" y="10643"/>
                    <a:pt x="2616" y="10617"/>
                  </a:cubicBezTo>
                  <a:lnTo>
                    <a:pt x="3120" y="10302"/>
                  </a:lnTo>
                  <a:cubicBezTo>
                    <a:pt x="3592" y="10617"/>
                    <a:pt x="4128" y="10806"/>
                    <a:pt x="4695" y="10932"/>
                  </a:cubicBezTo>
                  <a:lnTo>
                    <a:pt x="4853" y="11468"/>
                  </a:lnTo>
                  <a:cubicBezTo>
                    <a:pt x="4884" y="11625"/>
                    <a:pt x="5010" y="11751"/>
                    <a:pt x="5168" y="11751"/>
                  </a:cubicBezTo>
                  <a:lnTo>
                    <a:pt x="6554" y="11751"/>
                  </a:lnTo>
                  <a:cubicBezTo>
                    <a:pt x="6711" y="11751"/>
                    <a:pt x="6806" y="11625"/>
                    <a:pt x="6869" y="11468"/>
                  </a:cubicBezTo>
                  <a:lnTo>
                    <a:pt x="7026" y="10932"/>
                  </a:lnTo>
                  <a:cubicBezTo>
                    <a:pt x="7562" y="10806"/>
                    <a:pt x="8066" y="10554"/>
                    <a:pt x="8602" y="10302"/>
                  </a:cubicBezTo>
                  <a:lnTo>
                    <a:pt x="9106" y="10617"/>
                  </a:lnTo>
                  <a:cubicBezTo>
                    <a:pt x="9158" y="10643"/>
                    <a:pt x="9221" y="10659"/>
                    <a:pt x="9286" y="10659"/>
                  </a:cubicBezTo>
                  <a:cubicBezTo>
                    <a:pt x="9378" y="10659"/>
                    <a:pt x="9473" y="10628"/>
                    <a:pt x="9547" y="10554"/>
                  </a:cubicBezTo>
                  <a:lnTo>
                    <a:pt x="10523" y="9578"/>
                  </a:lnTo>
                  <a:cubicBezTo>
                    <a:pt x="10649" y="9452"/>
                    <a:pt x="10649" y="9294"/>
                    <a:pt x="10555" y="9137"/>
                  </a:cubicBezTo>
                  <a:lnTo>
                    <a:pt x="10240" y="8632"/>
                  </a:lnTo>
                  <a:cubicBezTo>
                    <a:pt x="10555" y="8160"/>
                    <a:pt x="10744" y="7593"/>
                    <a:pt x="10870" y="7057"/>
                  </a:cubicBezTo>
                  <a:lnTo>
                    <a:pt x="11469" y="6900"/>
                  </a:lnTo>
                  <a:cubicBezTo>
                    <a:pt x="11626" y="6868"/>
                    <a:pt x="11752" y="6742"/>
                    <a:pt x="11752" y="6585"/>
                  </a:cubicBezTo>
                  <a:lnTo>
                    <a:pt x="11752" y="5198"/>
                  </a:lnTo>
                  <a:cubicBezTo>
                    <a:pt x="11752" y="5041"/>
                    <a:pt x="11626" y="4946"/>
                    <a:pt x="11469" y="4883"/>
                  </a:cubicBezTo>
                  <a:lnTo>
                    <a:pt x="10870" y="4726"/>
                  </a:lnTo>
                  <a:cubicBezTo>
                    <a:pt x="10744" y="4190"/>
                    <a:pt x="10523" y="3686"/>
                    <a:pt x="10240" y="3151"/>
                  </a:cubicBezTo>
                  <a:lnTo>
                    <a:pt x="10555" y="2647"/>
                  </a:lnTo>
                  <a:cubicBezTo>
                    <a:pt x="10649" y="2521"/>
                    <a:pt x="10649" y="2332"/>
                    <a:pt x="10523" y="2205"/>
                  </a:cubicBezTo>
                  <a:lnTo>
                    <a:pt x="9547" y="1229"/>
                  </a:lnTo>
                  <a:cubicBezTo>
                    <a:pt x="9479" y="1161"/>
                    <a:pt x="9403" y="1130"/>
                    <a:pt x="9322" y="1130"/>
                  </a:cubicBezTo>
                  <a:cubicBezTo>
                    <a:pt x="9252" y="1130"/>
                    <a:pt x="9179" y="1153"/>
                    <a:pt x="9106" y="1197"/>
                  </a:cubicBezTo>
                  <a:lnTo>
                    <a:pt x="8602" y="1512"/>
                  </a:lnTo>
                  <a:cubicBezTo>
                    <a:pt x="8129" y="1197"/>
                    <a:pt x="7562" y="1008"/>
                    <a:pt x="7026" y="882"/>
                  </a:cubicBezTo>
                  <a:lnTo>
                    <a:pt x="6869" y="284"/>
                  </a:lnTo>
                  <a:cubicBezTo>
                    <a:pt x="6806" y="126"/>
                    <a:pt x="6711" y="0"/>
                    <a:pt x="655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26" name="Google Shape;1606;p43">
            <a:extLst>
              <a:ext uri="{FF2B5EF4-FFF2-40B4-BE49-F238E27FC236}">
                <a16:creationId xmlns:a16="http://schemas.microsoft.com/office/drawing/2014/main" id="{71EA74B5-8831-4EF6-B54E-94A28D395F5E}"/>
              </a:ext>
            </a:extLst>
          </p:cNvPr>
          <p:cNvSpPr txBox="1"/>
          <p:nvPr/>
        </p:nvSpPr>
        <p:spPr>
          <a:xfrm>
            <a:off x="194491" y="3519976"/>
            <a:ext cx="3123640" cy="1029328"/>
          </a:xfrm>
          <a:prstGeom prst="rect">
            <a:avLst/>
          </a:prstGeom>
          <a:noFill/>
          <a:ln>
            <a:noFill/>
          </a:ln>
        </p:spPr>
        <p:txBody>
          <a:bodyPr spcFirstLastPara="1" wrap="square" lIns="121900" tIns="121900" rIns="121900" bIns="121900" anchor="ctr" anchorCtr="0">
            <a:noAutofit/>
          </a:bodyPr>
          <a:lstStyle/>
          <a:p>
            <a:pPr algn="just" defTabSz="1219170">
              <a:buClr>
                <a:srgbClr val="000000"/>
              </a:buClr>
            </a:pPr>
            <a:r>
              <a:rPr lang="en-US" b="1" kern="0" dirty="0">
                <a:solidFill>
                  <a:srgbClr val="CE4D78"/>
                </a:solidFill>
                <a:latin typeface="Times New Roman" panose="02020603050405020304" pitchFamily="18" charset="0"/>
                <a:cs typeface="Times New Roman" panose="02020603050405020304" pitchFamily="18" charset="0"/>
                <a:sym typeface="Roboto"/>
              </a:rPr>
              <a:t>2. </a:t>
            </a:r>
            <a:r>
              <a:rPr lang="en-US" b="1" kern="0" dirty="0" err="1">
                <a:solidFill>
                  <a:srgbClr val="CE4D78"/>
                </a:solidFill>
                <a:latin typeface="Times New Roman" panose="02020603050405020304" pitchFamily="18" charset="0"/>
                <a:cs typeface="Times New Roman" panose="02020603050405020304" pitchFamily="18" charset="0"/>
                <a:sym typeface="Roboto"/>
              </a:rPr>
              <a:t>Kế</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hoạch</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đạt</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tỷ</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lệ</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cán</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bộ</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nữ</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đến</a:t>
            </a:r>
            <a:r>
              <a:rPr lang="en-US" b="1" kern="0" dirty="0">
                <a:solidFill>
                  <a:srgbClr val="CE4D78"/>
                </a:solidFill>
                <a:latin typeface="Times New Roman" panose="02020603050405020304" pitchFamily="18" charset="0"/>
                <a:cs typeface="Times New Roman" panose="02020603050405020304" pitchFamily="18" charset="0"/>
                <a:sym typeface="Roboto"/>
              </a:rPr>
              <a:t> 2020 </a:t>
            </a:r>
            <a:r>
              <a:rPr lang="en-US" b="1" kern="0" dirty="0" err="1">
                <a:solidFill>
                  <a:srgbClr val="CE4D78"/>
                </a:solidFill>
                <a:latin typeface="Times New Roman" panose="02020603050405020304" pitchFamily="18" charset="0"/>
                <a:cs typeface="Times New Roman" panose="02020603050405020304" pitchFamily="18" charset="0"/>
                <a:sym typeface="Roboto"/>
              </a:rPr>
              <a:t>là</a:t>
            </a:r>
            <a:r>
              <a:rPr lang="en-US" b="1" kern="0" dirty="0">
                <a:solidFill>
                  <a:srgbClr val="CE4D78"/>
                </a:solidFill>
                <a:latin typeface="Times New Roman" panose="02020603050405020304" pitchFamily="18" charset="0"/>
                <a:cs typeface="Times New Roman" panose="02020603050405020304" pitchFamily="18" charset="0"/>
                <a:sym typeface="Roboto"/>
              </a:rPr>
              <a:t> 14,5 % </a:t>
            </a:r>
            <a:r>
              <a:rPr lang="en-US" b="1" kern="0" dirty="0" err="1">
                <a:solidFill>
                  <a:srgbClr val="CE4D78"/>
                </a:solidFill>
                <a:latin typeface="Times New Roman" panose="02020603050405020304" pitchFamily="18" charset="0"/>
                <a:cs typeface="Times New Roman" panose="02020603050405020304" pitchFamily="18" charset="0"/>
                <a:sym typeface="Roboto"/>
              </a:rPr>
              <a:t>không</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đạt</a:t>
            </a:r>
            <a:r>
              <a:rPr lang="en-US" b="1" kern="0" dirty="0">
                <a:solidFill>
                  <a:srgbClr val="CE4D78"/>
                </a:solidFill>
                <a:latin typeface="Times New Roman" panose="02020603050405020304" pitchFamily="18" charset="0"/>
                <a:cs typeface="Times New Roman" panose="02020603050405020304" pitchFamily="18" charset="0"/>
                <a:sym typeface="Roboto"/>
              </a:rPr>
              <a:t> </a:t>
            </a:r>
            <a:r>
              <a:rPr lang="en-US" b="1" kern="0" dirty="0" err="1">
                <a:solidFill>
                  <a:srgbClr val="CE4D78"/>
                </a:solidFill>
                <a:latin typeface="Times New Roman" panose="02020603050405020304" pitchFamily="18" charset="0"/>
                <a:cs typeface="Times New Roman" panose="02020603050405020304" pitchFamily="18" charset="0"/>
                <a:sym typeface="Roboto"/>
              </a:rPr>
              <a:t>được</a:t>
            </a:r>
            <a:r>
              <a:rPr lang="en-US" b="1" kern="0" dirty="0">
                <a:solidFill>
                  <a:srgbClr val="CE4D78"/>
                </a:solidFill>
                <a:latin typeface="Times New Roman" panose="02020603050405020304" pitchFamily="18" charset="0"/>
                <a:cs typeface="Times New Roman" panose="02020603050405020304" pitchFamily="18" charset="0"/>
                <a:sym typeface="Roboto"/>
              </a:rPr>
              <a:t>.</a:t>
            </a:r>
          </a:p>
        </p:txBody>
      </p:sp>
      <p:grpSp>
        <p:nvGrpSpPr>
          <p:cNvPr id="228" name="Google Shape;1608;p43">
            <a:extLst>
              <a:ext uri="{FF2B5EF4-FFF2-40B4-BE49-F238E27FC236}">
                <a16:creationId xmlns:a16="http://schemas.microsoft.com/office/drawing/2014/main" id="{372B45A1-59F6-4115-9EC9-CD6C70C2F460}"/>
              </a:ext>
            </a:extLst>
          </p:cNvPr>
          <p:cNvGrpSpPr/>
          <p:nvPr/>
        </p:nvGrpSpPr>
        <p:grpSpPr>
          <a:xfrm>
            <a:off x="3780860" y="4055155"/>
            <a:ext cx="368063" cy="372084"/>
            <a:chOff x="-2668225" y="3239075"/>
            <a:chExt cx="288300" cy="291450"/>
          </a:xfrm>
        </p:grpSpPr>
        <p:sp>
          <p:nvSpPr>
            <p:cNvPr id="229" name="Google Shape;1609;p43">
              <a:extLst>
                <a:ext uri="{FF2B5EF4-FFF2-40B4-BE49-F238E27FC236}">
                  <a16:creationId xmlns:a16="http://schemas.microsoft.com/office/drawing/2014/main" id="{D1B84AEA-0FA1-49F9-A32C-344286B5BD03}"/>
                </a:ext>
              </a:extLst>
            </p:cNvPr>
            <p:cNvSpPr/>
            <p:nvPr/>
          </p:nvSpPr>
          <p:spPr>
            <a:xfrm>
              <a:off x="-2592600" y="3239075"/>
              <a:ext cx="137850" cy="51225"/>
            </a:xfrm>
            <a:custGeom>
              <a:avLst/>
              <a:gdLst/>
              <a:ahLst/>
              <a:cxnLst/>
              <a:rect l="l" t="t" r="r" b="b"/>
              <a:pathLst>
                <a:path w="5514" h="2049" extrusionOk="0">
                  <a:moveTo>
                    <a:pt x="1355" y="1"/>
                  </a:moveTo>
                  <a:cubicBezTo>
                    <a:pt x="0" y="1"/>
                    <a:pt x="11" y="2049"/>
                    <a:pt x="1386" y="2049"/>
                  </a:cubicBezTo>
                  <a:lnTo>
                    <a:pt x="4127" y="2049"/>
                  </a:lnTo>
                  <a:cubicBezTo>
                    <a:pt x="5482" y="2049"/>
                    <a:pt x="5514" y="1"/>
                    <a:pt x="4127" y="1"/>
                  </a:cubicBezTo>
                  <a:lnTo>
                    <a:pt x="1386" y="1"/>
                  </a:lnTo>
                  <a:cubicBezTo>
                    <a:pt x="1376" y="1"/>
                    <a:pt x="1366" y="1"/>
                    <a:pt x="135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30" name="Google Shape;1610;p43">
              <a:extLst>
                <a:ext uri="{FF2B5EF4-FFF2-40B4-BE49-F238E27FC236}">
                  <a16:creationId xmlns:a16="http://schemas.microsoft.com/office/drawing/2014/main" id="{F0C3BFC8-87FE-4AD0-B237-1E65665E8B8B}"/>
                </a:ext>
              </a:extLst>
            </p:cNvPr>
            <p:cNvSpPr/>
            <p:nvPr/>
          </p:nvSpPr>
          <p:spPr>
            <a:xfrm>
              <a:off x="-2587875" y="3307875"/>
              <a:ext cx="129200" cy="69850"/>
            </a:xfrm>
            <a:custGeom>
              <a:avLst/>
              <a:gdLst/>
              <a:ahLst/>
              <a:cxnLst/>
              <a:rect l="l" t="t" r="r" b="b"/>
              <a:pathLst>
                <a:path w="5168" h="2794" extrusionOk="0">
                  <a:moveTo>
                    <a:pt x="1235" y="1"/>
                  </a:moveTo>
                  <a:cubicBezTo>
                    <a:pt x="1002" y="1"/>
                    <a:pt x="977" y="13"/>
                    <a:pt x="882" y="53"/>
                  </a:cubicBezTo>
                  <a:lnTo>
                    <a:pt x="882" y="1502"/>
                  </a:lnTo>
                  <a:cubicBezTo>
                    <a:pt x="788" y="1628"/>
                    <a:pt x="599" y="1943"/>
                    <a:pt x="0" y="2794"/>
                  </a:cubicBezTo>
                  <a:lnTo>
                    <a:pt x="5167" y="2794"/>
                  </a:lnTo>
                  <a:cubicBezTo>
                    <a:pt x="4568" y="1912"/>
                    <a:pt x="4379" y="1597"/>
                    <a:pt x="4316" y="1471"/>
                  </a:cubicBezTo>
                  <a:lnTo>
                    <a:pt x="4316" y="22"/>
                  </a:lnTo>
                  <a:lnTo>
                    <a:pt x="3938" y="22"/>
                  </a:lnTo>
                  <a:cubicBezTo>
                    <a:pt x="2228" y="22"/>
                    <a:pt x="1547" y="1"/>
                    <a:pt x="123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31" name="Google Shape;1611;p43">
              <a:extLst>
                <a:ext uri="{FF2B5EF4-FFF2-40B4-BE49-F238E27FC236}">
                  <a16:creationId xmlns:a16="http://schemas.microsoft.com/office/drawing/2014/main" id="{93AA3A0E-0636-4DC5-8173-CAF1E1322C45}"/>
                </a:ext>
              </a:extLst>
            </p:cNvPr>
            <p:cNvSpPr/>
            <p:nvPr/>
          </p:nvSpPr>
          <p:spPr>
            <a:xfrm>
              <a:off x="-2566625" y="3427325"/>
              <a:ext cx="33125" cy="33100"/>
            </a:xfrm>
            <a:custGeom>
              <a:avLst/>
              <a:gdLst/>
              <a:ahLst/>
              <a:cxnLst/>
              <a:rect l="l" t="t" r="r" b="b"/>
              <a:pathLst>
                <a:path w="1325" h="1324" extrusionOk="0">
                  <a:moveTo>
                    <a:pt x="662" y="1"/>
                  </a:moveTo>
                  <a:cubicBezTo>
                    <a:pt x="253" y="1"/>
                    <a:pt x="1" y="316"/>
                    <a:pt x="1" y="662"/>
                  </a:cubicBezTo>
                  <a:cubicBezTo>
                    <a:pt x="1" y="1009"/>
                    <a:pt x="316" y="1324"/>
                    <a:pt x="662" y="1324"/>
                  </a:cubicBezTo>
                  <a:cubicBezTo>
                    <a:pt x="1041" y="1324"/>
                    <a:pt x="1324" y="1009"/>
                    <a:pt x="1324" y="662"/>
                  </a:cubicBezTo>
                  <a:cubicBezTo>
                    <a:pt x="1324" y="316"/>
                    <a:pt x="1041" y="1"/>
                    <a:pt x="66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32" name="Google Shape;1612;p43">
              <a:extLst>
                <a:ext uri="{FF2B5EF4-FFF2-40B4-BE49-F238E27FC236}">
                  <a16:creationId xmlns:a16="http://schemas.microsoft.com/office/drawing/2014/main" id="{24522143-DD96-49A9-BF13-1E2734F70792}"/>
                </a:ext>
              </a:extLst>
            </p:cNvPr>
            <p:cNvSpPr/>
            <p:nvPr/>
          </p:nvSpPr>
          <p:spPr>
            <a:xfrm>
              <a:off x="-2481550" y="3461200"/>
              <a:ext cx="18125" cy="18150"/>
            </a:xfrm>
            <a:custGeom>
              <a:avLst/>
              <a:gdLst/>
              <a:ahLst/>
              <a:cxnLst/>
              <a:rect l="l" t="t" r="r" b="b"/>
              <a:pathLst>
                <a:path w="725" h="726" extrusionOk="0">
                  <a:moveTo>
                    <a:pt x="378" y="0"/>
                  </a:moveTo>
                  <a:cubicBezTo>
                    <a:pt x="158" y="0"/>
                    <a:pt x="0" y="158"/>
                    <a:pt x="0" y="378"/>
                  </a:cubicBezTo>
                  <a:cubicBezTo>
                    <a:pt x="0" y="568"/>
                    <a:pt x="158" y="725"/>
                    <a:pt x="378" y="725"/>
                  </a:cubicBezTo>
                  <a:cubicBezTo>
                    <a:pt x="567" y="725"/>
                    <a:pt x="725" y="568"/>
                    <a:pt x="725" y="378"/>
                  </a:cubicBezTo>
                  <a:cubicBezTo>
                    <a:pt x="725" y="158"/>
                    <a:pt x="536" y="0"/>
                    <a:pt x="37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33" name="Google Shape;1613;p43">
              <a:extLst>
                <a:ext uri="{FF2B5EF4-FFF2-40B4-BE49-F238E27FC236}">
                  <a16:creationId xmlns:a16="http://schemas.microsoft.com/office/drawing/2014/main" id="{5B0F7263-ECB7-44C9-8640-CA05D824D3EB}"/>
                </a:ext>
              </a:extLst>
            </p:cNvPr>
            <p:cNvSpPr/>
            <p:nvPr/>
          </p:nvSpPr>
          <p:spPr>
            <a:xfrm>
              <a:off x="-2668225" y="3393475"/>
              <a:ext cx="288300" cy="137050"/>
            </a:xfrm>
            <a:custGeom>
              <a:avLst/>
              <a:gdLst/>
              <a:ahLst/>
              <a:cxnLst/>
              <a:rect l="l" t="t" r="r" b="b"/>
              <a:pathLst>
                <a:path w="11532" h="5482" extrusionOk="0">
                  <a:moveTo>
                    <a:pt x="4726" y="630"/>
                  </a:moveTo>
                  <a:cubicBezTo>
                    <a:pt x="5483" y="630"/>
                    <a:pt x="6113" y="1260"/>
                    <a:pt x="6113" y="2016"/>
                  </a:cubicBezTo>
                  <a:cubicBezTo>
                    <a:pt x="6113" y="2804"/>
                    <a:pt x="5514" y="3403"/>
                    <a:pt x="4726" y="3403"/>
                  </a:cubicBezTo>
                  <a:cubicBezTo>
                    <a:pt x="3970" y="3403"/>
                    <a:pt x="3340" y="2772"/>
                    <a:pt x="3340" y="2016"/>
                  </a:cubicBezTo>
                  <a:cubicBezTo>
                    <a:pt x="3340" y="1260"/>
                    <a:pt x="3970" y="630"/>
                    <a:pt x="4726" y="630"/>
                  </a:cubicBezTo>
                  <a:close/>
                  <a:moveTo>
                    <a:pt x="7845" y="2048"/>
                  </a:moveTo>
                  <a:cubicBezTo>
                    <a:pt x="8381" y="2048"/>
                    <a:pt x="8854" y="2520"/>
                    <a:pt x="8854" y="3087"/>
                  </a:cubicBezTo>
                  <a:cubicBezTo>
                    <a:pt x="8854" y="3623"/>
                    <a:pt x="8381" y="4096"/>
                    <a:pt x="7845" y="4096"/>
                  </a:cubicBezTo>
                  <a:cubicBezTo>
                    <a:pt x="7278" y="4096"/>
                    <a:pt x="6806" y="3623"/>
                    <a:pt x="6806" y="3087"/>
                  </a:cubicBezTo>
                  <a:cubicBezTo>
                    <a:pt x="6806" y="2520"/>
                    <a:pt x="7278" y="2048"/>
                    <a:pt x="7845" y="2048"/>
                  </a:cubicBezTo>
                  <a:close/>
                  <a:moveTo>
                    <a:pt x="2710" y="0"/>
                  </a:moveTo>
                  <a:cubicBezTo>
                    <a:pt x="2238" y="693"/>
                    <a:pt x="1607" y="1575"/>
                    <a:pt x="788" y="2804"/>
                  </a:cubicBezTo>
                  <a:cubicBezTo>
                    <a:pt x="1" y="3938"/>
                    <a:pt x="820" y="5482"/>
                    <a:pt x="2206" y="5482"/>
                  </a:cubicBezTo>
                  <a:lnTo>
                    <a:pt x="9295" y="5482"/>
                  </a:lnTo>
                  <a:cubicBezTo>
                    <a:pt x="10712" y="5482"/>
                    <a:pt x="11532" y="3938"/>
                    <a:pt x="10744" y="2804"/>
                  </a:cubicBezTo>
                  <a:cubicBezTo>
                    <a:pt x="9925" y="1575"/>
                    <a:pt x="9295" y="693"/>
                    <a:pt x="882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35" name="Google Shape;1615;p43">
            <a:extLst>
              <a:ext uri="{FF2B5EF4-FFF2-40B4-BE49-F238E27FC236}">
                <a16:creationId xmlns:a16="http://schemas.microsoft.com/office/drawing/2014/main" id="{E510EE60-0FDC-4E09-9E91-14B7FA438E79}"/>
              </a:ext>
            </a:extLst>
          </p:cNvPr>
          <p:cNvSpPr txBox="1"/>
          <p:nvPr/>
        </p:nvSpPr>
        <p:spPr>
          <a:xfrm>
            <a:off x="161638" y="4920618"/>
            <a:ext cx="3123640" cy="1029328"/>
          </a:xfrm>
          <a:prstGeom prst="rect">
            <a:avLst/>
          </a:prstGeom>
          <a:noFill/>
          <a:ln>
            <a:noFill/>
          </a:ln>
        </p:spPr>
        <p:txBody>
          <a:bodyPr spcFirstLastPara="1" wrap="square" lIns="121900" tIns="121900" rIns="121900" bIns="1219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lang="en-US" b="1" kern="0" dirty="0">
              <a:solidFill>
                <a:srgbClr val="941C44"/>
              </a:solidFill>
              <a:latin typeface="Times New Roman" panose="02020603050405020304" pitchFamily="18" charset="0"/>
              <a:cs typeface="Times New Roman" panose="02020603050405020304" pitchFamily="18" charset="0"/>
              <a:sym typeface="Calibri"/>
            </a:endParaRPr>
          </a:p>
        </p:txBody>
      </p:sp>
      <p:grpSp>
        <p:nvGrpSpPr>
          <p:cNvPr id="237" name="Google Shape;1617;p43">
            <a:extLst>
              <a:ext uri="{FF2B5EF4-FFF2-40B4-BE49-F238E27FC236}">
                <a16:creationId xmlns:a16="http://schemas.microsoft.com/office/drawing/2014/main" id="{7C100505-0B80-4A81-94C6-0E97F9876495}"/>
              </a:ext>
            </a:extLst>
          </p:cNvPr>
          <p:cNvGrpSpPr/>
          <p:nvPr/>
        </p:nvGrpSpPr>
        <p:grpSpPr>
          <a:xfrm>
            <a:off x="4494908" y="4750919"/>
            <a:ext cx="373073" cy="371063"/>
            <a:chOff x="-4118225" y="3253275"/>
            <a:chExt cx="292225" cy="290650"/>
          </a:xfrm>
        </p:grpSpPr>
        <p:sp>
          <p:nvSpPr>
            <p:cNvPr id="238" name="Google Shape;1618;p43">
              <a:extLst>
                <a:ext uri="{FF2B5EF4-FFF2-40B4-BE49-F238E27FC236}">
                  <a16:creationId xmlns:a16="http://schemas.microsoft.com/office/drawing/2014/main" id="{1226F108-1EDA-42E1-9AF1-F922B0B8CC3B}"/>
                </a:ext>
              </a:extLst>
            </p:cNvPr>
            <p:cNvSpPr/>
            <p:nvPr/>
          </p:nvSpPr>
          <p:spPr>
            <a:xfrm>
              <a:off x="-4118225" y="3287125"/>
              <a:ext cx="256725" cy="256800"/>
            </a:xfrm>
            <a:custGeom>
              <a:avLst/>
              <a:gdLst/>
              <a:ahLst/>
              <a:cxnLst/>
              <a:rect l="l" t="t" r="r" b="b"/>
              <a:pathLst>
                <a:path w="10269" h="10272" extrusionOk="0">
                  <a:moveTo>
                    <a:pt x="5104" y="1"/>
                  </a:moveTo>
                  <a:cubicBezTo>
                    <a:pt x="2268" y="1"/>
                    <a:pt x="0" y="2301"/>
                    <a:pt x="0" y="5136"/>
                  </a:cubicBezTo>
                  <a:cubicBezTo>
                    <a:pt x="0" y="7972"/>
                    <a:pt x="2268" y="10271"/>
                    <a:pt x="5104" y="10271"/>
                  </a:cubicBezTo>
                  <a:cubicBezTo>
                    <a:pt x="7939" y="10271"/>
                    <a:pt x="10239" y="8003"/>
                    <a:pt x="10239" y="5168"/>
                  </a:cubicBezTo>
                  <a:cubicBezTo>
                    <a:pt x="10268" y="4993"/>
                    <a:pt x="10108" y="4818"/>
                    <a:pt x="9910" y="4818"/>
                  </a:cubicBezTo>
                  <a:cubicBezTo>
                    <a:pt x="9894" y="4818"/>
                    <a:pt x="9877" y="4819"/>
                    <a:pt x="9861" y="4821"/>
                  </a:cubicBezTo>
                  <a:lnTo>
                    <a:pt x="5797" y="4821"/>
                  </a:lnTo>
                  <a:cubicBezTo>
                    <a:pt x="5639" y="4821"/>
                    <a:pt x="5450" y="4695"/>
                    <a:pt x="5450" y="4506"/>
                  </a:cubicBezTo>
                  <a:lnTo>
                    <a:pt x="5450" y="347"/>
                  </a:lnTo>
                  <a:cubicBezTo>
                    <a:pt x="5450" y="158"/>
                    <a:pt x="5324" y="1"/>
                    <a:pt x="5104"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39" name="Google Shape;1619;p43">
              <a:extLst>
                <a:ext uri="{FF2B5EF4-FFF2-40B4-BE49-F238E27FC236}">
                  <a16:creationId xmlns:a16="http://schemas.microsoft.com/office/drawing/2014/main" id="{FF2F13B7-96B8-4FE3-B1A3-3743941F564F}"/>
                </a:ext>
              </a:extLst>
            </p:cNvPr>
            <p:cNvSpPr/>
            <p:nvPr/>
          </p:nvSpPr>
          <p:spPr>
            <a:xfrm>
              <a:off x="-3963850" y="3253275"/>
              <a:ext cx="137850" cy="137850"/>
            </a:xfrm>
            <a:custGeom>
              <a:avLst/>
              <a:gdLst/>
              <a:ahLst/>
              <a:cxnLst/>
              <a:rect l="l" t="t" r="r" b="b"/>
              <a:pathLst>
                <a:path w="5514" h="5514" extrusionOk="0">
                  <a:moveTo>
                    <a:pt x="347" y="0"/>
                  </a:moveTo>
                  <a:cubicBezTo>
                    <a:pt x="158" y="0"/>
                    <a:pt x="0" y="158"/>
                    <a:pt x="0" y="347"/>
                  </a:cubicBezTo>
                  <a:lnTo>
                    <a:pt x="0" y="5135"/>
                  </a:lnTo>
                  <a:cubicBezTo>
                    <a:pt x="0" y="5356"/>
                    <a:pt x="158" y="5514"/>
                    <a:pt x="347" y="5514"/>
                  </a:cubicBezTo>
                  <a:lnTo>
                    <a:pt x="5167" y="5514"/>
                  </a:lnTo>
                  <a:cubicBezTo>
                    <a:pt x="5356" y="5514"/>
                    <a:pt x="5513" y="5356"/>
                    <a:pt x="5513" y="5135"/>
                  </a:cubicBezTo>
                  <a:cubicBezTo>
                    <a:pt x="5513" y="2269"/>
                    <a:pt x="3182" y="0"/>
                    <a:pt x="34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41" name="Google Shape;1621;p43">
            <a:extLst>
              <a:ext uri="{FF2B5EF4-FFF2-40B4-BE49-F238E27FC236}">
                <a16:creationId xmlns:a16="http://schemas.microsoft.com/office/drawing/2014/main" id="{C5B93A9C-EA92-47C5-BA5B-DB1C3AD453DD}"/>
              </a:ext>
            </a:extLst>
          </p:cNvPr>
          <p:cNvSpPr txBox="1"/>
          <p:nvPr/>
        </p:nvSpPr>
        <p:spPr>
          <a:xfrm>
            <a:off x="7477650" y="1619811"/>
            <a:ext cx="4409375" cy="1438372"/>
          </a:xfrm>
          <a:prstGeom prst="rect">
            <a:avLst/>
          </a:prstGeom>
          <a:noFill/>
          <a:ln>
            <a:noFill/>
          </a:ln>
        </p:spPr>
        <p:txBody>
          <a:bodyPr spcFirstLastPara="1" wrap="square" lIns="121900" tIns="121900" rIns="121900" bIns="121900" anchor="ctr" anchorCtr="0">
            <a:noAutofit/>
          </a:bodyPr>
          <a:lstStyle/>
          <a:p>
            <a:pPr marR="0" lvl="0" indent="0" algn="just" defTabSz="1219170" fontAlgn="auto">
              <a:lnSpc>
                <a:spcPct val="100000"/>
              </a:lnSpc>
              <a:spcBef>
                <a:spcPts val="0"/>
              </a:spcBef>
              <a:spcAft>
                <a:spcPts val="0"/>
              </a:spcAft>
              <a:buClr>
                <a:srgbClr val="000000"/>
              </a:buClr>
              <a:buSzTx/>
              <a:buFont typeface="Arial"/>
              <a:buNone/>
              <a:tabLst/>
              <a:defRPr/>
            </a:pPr>
            <a:r>
              <a:rPr lang="en-US" b="1" kern="0" dirty="0">
                <a:solidFill>
                  <a:srgbClr val="58B9D2"/>
                </a:solidFill>
                <a:latin typeface="Times New Roman" panose="02020603050405020304" pitchFamily="18" charset="0"/>
                <a:cs typeface="Times New Roman" panose="02020603050405020304" pitchFamily="18" charset="0"/>
                <a:sym typeface="Calibri"/>
              </a:rPr>
              <a:t>1.  </a:t>
            </a:r>
            <a:r>
              <a:rPr lang="en-US" b="1" kern="0" dirty="0" err="1">
                <a:solidFill>
                  <a:srgbClr val="58B9D2"/>
                </a:solidFill>
                <a:latin typeface="Times New Roman" panose="02020603050405020304" pitchFamily="18" charset="0"/>
                <a:cs typeface="Times New Roman" panose="02020603050405020304" pitchFamily="18" charset="0"/>
                <a:sym typeface="Calibri"/>
              </a:rPr>
              <a:t>Xây</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dựng</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hín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sác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à</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giao</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hỉ</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tiêu</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kế</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hoạc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ho</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ác</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đơn</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ị</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i</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tỷ</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lệ</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quy</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hoạc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bằng</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tỷ</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lệ</a:t>
            </a:r>
            <a:r>
              <a:rPr lang="en-US" b="1" kern="0" dirty="0">
                <a:solidFill>
                  <a:srgbClr val="58B9D2"/>
                </a:solidFill>
                <a:latin typeface="Times New Roman" panose="02020603050405020304" pitchFamily="18" charset="0"/>
                <a:cs typeface="Times New Roman" panose="02020603050405020304" pitchFamily="18" charset="0"/>
                <a:sym typeface="Calibri"/>
              </a:rPr>
              <a:t> lao </a:t>
            </a:r>
            <a:r>
              <a:rPr lang="en-US" b="1" kern="0" dirty="0" err="1">
                <a:solidFill>
                  <a:srgbClr val="58B9D2"/>
                </a:solidFill>
                <a:latin typeface="Times New Roman" panose="02020603050405020304" pitchFamily="18" charset="0"/>
                <a:cs typeface="Times New Roman" panose="02020603050405020304" pitchFamily="18" charset="0"/>
                <a:sym typeface="Calibri"/>
              </a:rPr>
              <a:t>động</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nữ</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ủa</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đơn</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ị</a:t>
            </a:r>
            <a:r>
              <a:rPr lang="en-US" b="1" kern="0" dirty="0">
                <a:solidFill>
                  <a:srgbClr val="58B9D2"/>
                </a:solidFill>
                <a:latin typeface="Times New Roman" panose="02020603050405020304" pitchFamily="18" charset="0"/>
                <a:cs typeface="Times New Roman" panose="02020603050405020304" pitchFamily="18" charset="0"/>
                <a:sym typeface="Calibri"/>
              </a:rPr>
              <a:t>; ii) </a:t>
            </a:r>
            <a:r>
              <a:rPr lang="en-US" b="1" kern="0" dirty="0" err="1">
                <a:solidFill>
                  <a:srgbClr val="58B9D2"/>
                </a:solidFill>
                <a:latin typeface="Times New Roman" panose="02020603050405020304" pitchFamily="18" charset="0"/>
                <a:cs typeface="Times New Roman" panose="02020603050405020304" pitchFamily="18" charset="0"/>
                <a:sym typeface="Calibri"/>
              </a:rPr>
              <a:t>có</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nữ</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quy</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hoạc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à</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bổ</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nhiệm</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ào</a:t>
            </a:r>
            <a:r>
              <a:rPr lang="en-US" b="1" kern="0" dirty="0">
                <a:solidFill>
                  <a:srgbClr val="58B9D2"/>
                </a:solidFill>
                <a:latin typeface="Times New Roman" panose="02020603050405020304" pitchFamily="18" charset="0"/>
                <a:cs typeface="Times New Roman" panose="02020603050405020304" pitchFamily="18" charset="0"/>
                <a:sym typeface="Calibri"/>
              </a:rPr>
              <a:t> ban </a:t>
            </a:r>
            <a:r>
              <a:rPr lang="en-US" b="1" kern="0" dirty="0" err="1">
                <a:solidFill>
                  <a:srgbClr val="58B9D2"/>
                </a:solidFill>
                <a:latin typeface="Times New Roman" panose="02020603050405020304" pitchFamily="18" charset="0"/>
                <a:cs typeface="Times New Roman" panose="02020603050405020304" pitchFamily="18" charset="0"/>
                <a:sym typeface="Calibri"/>
              </a:rPr>
              <a:t>lãn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đạo</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điều</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hành</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của</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đơn</a:t>
            </a:r>
            <a:r>
              <a:rPr lang="en-US" b="1" kern="0" dirty="0">
                <a:solidFill>
                  <a:srgbClr val="58B9D2"/>
                </a:solidFill>
                <a:latin typeface="Times New Roman" panose="02020603050405020304" pitchFamily="18" charset="0"/>
                <a:cs typeface="Times New Roman" panose="02020603050405020304" pitchFamily="18" charset="0"/>
                <a:sym typeface="Calibri"/>
              </a:rPr>
              <a:t> </a:t>
            </a:r>
            <a:r>
              <a:rPr lang="en-US" b="1" kern="0" dirty="0" err="1">
                <a:solidFill>
                  <a:srgbClr val="58B9D2"/>
                </a:solidFill>
                <a:latin typeface="Times New Roman" panose="02020603050405020304" pitchFamily="18" charset="0"/>
                <a:cs typeface="Times New Roman" panose="02020603050405020304" pitchFamily="18" charset="0"/>
                <a:sym typeface="Calibri"/>
              </a:rPr>
              <a:t>vị</a:t>
            </a:r>
            <a:r>
              <a:rPr lang="en-US" b="1" kern="0" dirty="0">
                <a:solidFill>
                  <a:srgbClr val="58B9D2"/>
                </a:solidFill>
                <a:latin typeface="Times New Roman" panose="02020603050405020304" pitchFamily="18" charset="0"/>
                <a:cs typeface="Times New Roman" panose="02020603050405020304" pitchFamily="18" charset="0"/>
                <a:sym typeface="Calibri"/>
              </a:rPr>
              <a:t>.</a:t>
            </a:r>
          </a:p>
        </p:txBody>
      </p:sp>
      <p:grpSp>
        <p:nvGrpSpPr>
          <p:cNvPr id="243" name="Google Shape;1623;p43">
            <a:extLst>
              <a:ext uri="{FF2B5EF4-FFF2-40B4-BE49-F238E27FC236}">
                <a16:creationId xmlns:a16="http://schemas.microsoft.com/office/drawing/2014/main" id="{82AD3F7B-D53E-4447-B921-730FF5174D57}"/>
              </a:ext>
            </a:extLst>
          </p:cNvPr>
          <p:cNvGrpSpPr/>
          <p:nvPr/>
        </p:nvGrpSpPr>
        <p:grpSpPr>
          <a:xfrm>
            <a:off x="6079158" y="2419750"/>
            <a:ext cx="349967" cy="374095"/>
            <a:chOff x="-2312225" y="3238300"/>
            <a:chExt cx="274125" cy="293025"/>
          </a:xfrm>
        </p:grpSpPr>
        <p:sp>
          <p:nvSpPr>
            <p:cNvPr id="244" name="Google Shape;1624;p43">
              <a:extLst>
                <a:ext uri="{FF2B5EF4-FFF2-40B4-BE49-F238E27FC236}">
                  <a16:creationId xmlns:a16="http://schemas.microsoft.com/office/drawing/2014/main" id="{45D664FF-AD0C-4912-B8BC-971686A46AB8}"/>
                </a:ext>
              </a:extLst>
            </p:cNvPr>
            <p:cNvSpPr/>
            <p:nvPr/>
          </p:nvSpPr>
          <p:spPr>
            <a:xfrm>
              <a:off x="-2241325" y="3289500"/>
              <a:ext cx="203225" cy="241825"/>
            </a:xfrm>
            <a:custGeom>
              <a:avLst/>
              <a:gdLst/>
              <a:ahLst/>
              <a:cxnLst/>
              <a:rect l="l" t="t" r="r" b="b"/>
              <a:pathLst>
                <a:path w="8129" h="9673" extrusionOk="0">
                  <a:moveTo>
                    <a:pt x="2458" y="0"/>
                  </a:moveTo>
                  <a:cubicBezTo>
                    <a:pt x="2174" y="0"/>
                    <a:pt x="1954" y="221"/>
                    <a:pt x="1954" y="504"/>
                  </a:cubicBezTo>
                  <a:lnTo>
                    <a:pt x="1954" y="2836"/>
                  </a:lnTo>
                  <a:lnTo>
                    <a:pt x="1954" y="5167"/>
                  </a:lnTo>
                  <a:lnTo>
                    <a:pt x="914" y="4128"/>
                  </a:lnTo>
                  <a:cubicBezTo>
                    <a:pt x="820" y="4033"/>
                    <a:pt x="693" y="3986"/>
                    <a:pt x="567" y="3986"/>
                  </a:cubicBezTo>
                  <a:cubicBezTo>
                    <a:pt x="441" y="3986"/>
                    <a:pt x="315" y="4033"/>
                    <a:pt x="221" y="4128"/>
                  </a:cubicBezTo>
                  <a:cubicBezTo>
                    <a:pt x="0" y="4317"/>
                    <a:pt x="0" y="4632"/>
                    <a:pt x="221" y="4852"/>
                  </a:cubicBezTo>
                  <a:lnTo>
                    <a:pt x="2678" y="7310"/>
                  </a:lnTo>
                  <a:lnTo>
                    <a:pt x="2678" y="8664"/>
                  </a:lnTo>
                  <a:cubicBezTo>
                    <a:pt x="2678" y="9200"/>
                    <a:pt x="3151" y="9672"/>
                    <a:pt x="3718" y="9672"/>
                  </a:cubicBezTo>
                  <a:lnTo>
                    <a:pt x="6459" y="9672"/>
                  </a:lnTo>
                  <a:cubicBezTo>
                    <a:pt x="7026" y="9672"/>
                    <a:pt x="7499" y="9200"/>
                    <a:pt x="7499" y="8664"/>
                  </a:cubicBezTo>
                  <a:lnTo>
                    <a:pt x="7499" y="8066"/>
                  </a:lnTo>
                  <a:cubicBezTo>
                    <a:pt x="7688" y="7656"/>
                    <a:pt x="7845" y="7278"/>
                    <a:pt x="7940" y="6837"/>
                  </a:cubicBezTo>
                  <a:cubicBezTo>
                    <a:pt x="8034" y="6396"/>
                    <a:pt x="8129" y="5986"/>
                    <a:pt x="8129" y="5514"/>
                  </a:cubicBezTo>
                  <a:lnTo>
                    <a:pt x="8129" y="3308"/>
                  </a:lnTo>
                  <a:cubicBezTo>
                    <a:pt x="8129" y="3025"/>
                    <a:pt x="7877" y="2773"/>
                    <a:pt x="7625" y="2773"/>
                  </a:cubicBezTo>
                  <a:cubicBezTo>
                    <a:pt x="7341" y="2773"/>
                    <a:pt x="7089" y="3025"/>
                    <a:pt x="7089" y="3308"/>
                  </a:cubicBezTo>
                  <a:lnTo>
                    <a:pt x="7089" y="3812"/>
                  </a:lnTo>
                  <a:cubicBezTo>
                    <a:pt x="7089" y="4002"/>
                    <a:pt x="6931" y="4159"/>
                    <a:pt x="6742" y="4159"/>
                  </a:cubicBezTo>
                  <a:cubicBezTo>
                    <a:pt x="6553" y="4159"/>
                    <a:pt x="6396" y="4002"/>
                    <a:pt x="6396" y="3812"/>
                  </a:cubicBezTo>
                  <a:lnTo>
                    <a:pt x="6396" y="2615"/>
                  </a:lnTo>
                  <a:cubicBezTo>
                    <a:pt x="6396" y="2363"/>
                    <a:pt x="6144" y="2111"/>
                    <a:pt x="5892" y="2111"/>
                  </a:cubicBezTo>
                  <a:cubicBezTo>
                    <a:pt x="5608" y="2111"/>
                    <a:pt x="5356" y="2363"/>
                    <a:pt x="5356" y="2615"/>
                  </a:cubicBezTo>
                  <a:cubicBezTo>
                    <a:pt x="5357" y="2615"/>
                    <a:pt x="5358" y="2615"/>
                    <a:pt x="5359" y="2615"/>
                  </a:cubicBezTo>
                  <a:cubicBezTo>
                    <a:pt x="5418" y="2615"/>
                    <a:pt x="5419" y="3769"/>
                    <a:pt x="5419" y="3781"/>
                  </a:cubicBezTo>
                  <a:lnTo>
                    <a:pt x="5419" y="3781"/>
                  </a:lnTo>
                  <a:cubicBezTo>
                    <a:pt x="5419" y="3970"/>
                    <a:pt x="5262" y="4128"/>
                    <a:pt x="5041" y="4128"/>
                  </a:cubicBezTo>
                  <a:cubicBezTo>
                    <a:pt x="4852" y="4128"/>
                    <a:pt x="4695" y="3970"/>
                    <a:pt x="4695" y="3781"/>
                  </a:cubicBezTo>
                  <a:lnTo>
                    <a:pt x="4695" y="2584"/>
                  </a:lnTo>
                  <a:cubicBezTo>
                    <a:pt x="4695" y="2332"/>
                    <a:pt x="4474" y="2080"/>
                    <a:pt x="4191" y="2080"/>
                  </a:cubicBezTo>
                  <a:cubicBezTo>
                    <a:pt x="3907" y="2080"/>
                    <a:pt x="3686" y="2332"/>
                    <a:pt x="3686" y="2584"/>
                  </a:cubicBezTo>
                  <a:lnTo>
                    <a:pt x="3686" y="3781"/>
                  </a:lnTo>
                  <a:cubicBezTo>
                    <a:pt x="3686" y="3970"/>
                    <a:pt x="3529" y="4128"/>
                    <a:pt x="3308" y="4128"/>
                  </a:cubicBezTo>
                  <a:cubicBezTo>
                    <a:pt x="3119" y="4128"/>
                    <a:pt x="2962" y="3970"/>
                    <a:pt x="2962" y="3781"/>
                  </a:cubicBezTo>
                  <a:lnTo>
                    <a:pt x="2962" y="504"/>
                  </a:lnTo>
                  <a:cubicBezTo>
                    <a:pt x="2962" y="221"/>
                    <a:pt x="2741" y="0"/>
                    <a:pt x="245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45" name="Google Shape;1625;p43">
              <a:extLst>
                <a:ext uri="{FF2B5EF4-FFF2-40B4-BE49-F238E27FC236}">
                  <a16:creationId xmlns:a16="http://schemas.microsoft.com/office/drawing/2014/main" id="{B5328773-BC54-484F-8C8A-87641CC5DFF8}"/>
                </a:ext>
              </a:extLst>
            </p:cNvPr>
            <p:cNvSpPr/>
            <p:nvPr/>
          </p:nvSpPr>
          <p:spPr>
            <a:xfrm>
              <a:off x="-2312225" y="3238300"/>
              <a:ext cx="241825" cy="241050"/>
            </a:xfrm>
            <a:custGeom>
              <a:avLst/>
              <a:gdLst/>
              <a:ahLst/>
              <a:cxnLst/>
              <a:rect l="l" t="t" r="r" b="b"/>
              <a:pathLst>
                <a:path w="9673" h="9642" extrusionOk="0">
                  <a:moveTo>
                    <a:pt x="379" y="1"/>
                  </a:moveTo>
                  <a:cubicBezTo>
                    <a:pt x="158" y="1"/>
                    <a:pt x="1" y="158"/>
                    <a:pt x="1" y="347"/>
                  </a:cubicBezTo>
                  <a:lnTo>
                    <a:pt x="1" y="1733"/>
                  </a:lnTo>
                  <a:cubicBezTo>
                    <a:pt x="1" y="1922"/>
                    <a:pt x="158" y="2080"/>
                    <a:pt x="379" y="2080"/>
                  </a:cubicBezTo>
                  <a:lnTo>
                    <a:pt x="726" y="2080"/>
                  </a:lnTo>
                  <a:lnTo>
                    <a:pt x="726" y="7562"/>
                  </a:lnTo>
                  <a:lnTo>
                    <a:pt x="379" y="7562"/>
                  </a:lnTo>
                  <a:cubicBezTo>
                    <a:pt x="158" y="7562"/>
                    <a:pt x="1" y="7719"/>
                    <a:pt x="1" y="7908"/>
                  </a:cubicBezTo>
                  <a:lnTo>
                    <a:pt x="1" y="9294"/>
                  </a:lnTo>
                  <a:cubicBezTo>
                    <a:pt x="1" y="9484"/>
                    <a:pt x="158" y="9641"/>
                    <a:pt x="379" y="9641"/>
                  </a:cubicBezTo>
                  <a:lnTo>
                    <a:pt x="1734" y="9641"/>
                  </a:lnTo>
                  <a:cubicBezTo>
                    <a:pt x="1954" y="9641"/>
                    <a:pt x="2112" y="9484"/>
                    <a:pt x="2112" y="9294"/>
                  </a:cubicBezTo>
                  <a:lnTo>
                    <a:pt x="2112" y="8916"/>
                  </a:lnTo>
                  <a:lnTo>
                    <a:pt x="4160" y="8916"/>
                  </a:lnTo>
                  <a:lnTo>
                    <a:pt x="3435" y="8223"/>
                  </a:lnTo>
                  <a:lnTo>
                    <a:pt x="2112" y="8223"/>
                  </a:lnTo>
                  <a:lnTo>
                    <a:pt x="2112" y="7877"/>
                  </a:lnTo>
                  <a:cubicBezTo>
                    <a:pt x="2112" y="7688"/>
                    <a:pt x="1954" y="7530"/>
                    <a:pt x="1734" y="7530"/>
                  </a:cubicBezTo>
                  <a:lnTo>
                    <a:pt x="1387" y="7530"/>
                  </a:lnTo>
                  <a:lnTo>
                    <a:pt x="1387" y="2080"/>
                  </a:lnTo>
                  <a:lnTo>
                    <a:pt x="1734" y="2080"/>
                  </a:lnTo>
                  <a:cubicBezTo>
                    <a:pt x="1954" y="2080"/>
                    <a:pt x="2112" y="1922"/>
                    <a:pt x="2112" y="1733"/>
                  </a:cubicBezTo>
                  <a:lnTo>
                    <a:pt x="2112" y="1387"/>
                  </a:lnTo>
                  <a:lnTo>
                    <a:pt x="7562" y="1387"/>
                  </a:lnTo>
                  <a:lnTo>
                    <a:pt x="7562" y="1733"/>
                  </a:lnTo>
                  <a:cubicBezTo>
                    <a:pt x="7562" y="1922"/>
                    <a:pt x="7720" y="2080"/>
                    <a:pt x="7940" y="2080"/>
                  </a:cubicBezTo>
                  <a:lnTo>
                    <a:pt x="8287" y="2080"/>
                  </a:lnTo>
                  <a:lnTo>
                    <a:pt x="8287" y="3592"/>
                  </a:lnTo>
                  <a:cubicBezTo>
                    <a:pt x="8444" y="3498"/>
                    <a:pt x="8602" y="3466"/>
                    <a:pt x="8791" y="3466"/>
                  </a:cubicBezTo>
                  <a:cubicBezTo>
                    <a:pt x="8885" y="3466"/>
                    <a:pt x="8917" y="3466"/>
                    <a:pt x="8948" y="3498"/>
                  </a:cubicBezTo>
                  <a:lnTo>
                    <a:pt x="8948" y="2080"/>
                  </a:lnTo>
                  <a:lnTo>
                    <a:pt x="9326" y="2080"/>
                  </a:lnTo>
                  <a:cubicBezTo>
                    <a:pt x="9515" y="2080"/>
                    <a:pt x="9673" y="1922"/>
                    <a:pt x="9673" y="1733"/>
                  </a:cubicBezTo>
                  <a:lnTo>
                    <a:pt x="9673" y="347"/>
                  </a:lnTo>
                  <a:cubicBezTo>
                    <a:pt x="9673" y="158"/>
                    <a:pt x="9515" y="1"/>
                    <a:pt x="9326" y="1"/>
                  </a:cubicBezTo>
                  <a:lnTo>
                    <a:pt x="7940" y="1"/>
                  </a:lnTo>
                  <a:cubicBezTo>
                    <a:pt x="7751" y="1"/>
                    <a:pt x="7562" y="158"/>
                    <a:pt x="7562" y="347"/>
                  </a:cubicBezTo>
                  <a:lnTo>
                    <a:pt x="7562" y="694"/>
                  </a:lnTo>
                  <a:lnTo>
                    <a:pt x="2112" y="694"/>
                  </a:lnTo>
                  <a:lnTo>
                    <a:pt x="2112" y="347"/>
                  </a:lnTo>
                  <a:cubicBezTo>
                    <a:pt x="2112" y="158"/>
                    <a:pt x="1954" y="1"/>
                    <a:pt x="1734"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grpSp>
        <p:nvGrpSpPr>
          <p:cNvPr id="249" name="Google Shape;1629;p43">
            <a:extLst>
              <a:ext uri="{FF2B5EF4-FFF2-40B4-BE49-F238E27FC236}">
                <a16:creationId xmlns:a16="http://schemas.microsoft.com/office/drawing/2014/main" id="{1A4E3BF0-3D01-469D-86AA-AC89AF31EC27}"/>
              </a:ext>
            </a:extLst>
          </p:cNvPr>
          <p:cNvGrpSpPr/>
          <p:nvPr/>
        </p:nvGrpSpPr>
        <p:grpSpPr>
          <a:xfrm>
            <a:off x="6844007" y="4131810"/>
            <a:ext cx="376075" cy="372084"/>
            <a:chOff x="-1182750" y="3962900"/>
            <a:chExt cx="294575" cy="291450"/>
          </a:xfrm>
        </p:grpSpPr>
        <p:sp>
          <p:nvSpPr>
            <p:cNvPr id="250" name="Google Shape;1630;p43">
              <a:extLst>
                <a:ext uri="{FF2B5EF4-FFF2-40B4-BE49-F238E27FC236}">
                  <a16:creationId xmlns:a16="http://schemas.microsoft.com/office/drawing/2014/main" id="{FD4B53CA-5437-4291-A673-1B24BACF451B}"/>
                </a:ext>
              </a:extLst>
            </p:cNvPr>
            <p:cNvSpPr/>
            <p:nvPr/>
          </p:nvSpPr>
          <p:spPr>
            <a:xfrm>
              <a:off x="-1078000" y="4030650"/>
              <a:ext cx="17350" cy="17350"/>
            </a:xfrm>
            <a:custGeom>
              <a:avLst/>
              <a:gdLst/>
              <a:ahLst/>
              <a:cxnLst/>
              <a:rect l="l" t="t" r="r" b="b"/>
              <a:pathLst>
                <a:path w="694" h="694" extrusionOk="0">
                  <a:moveTo>
                    <a:pt x="347" y="0"/>
                  </a:moveTo>
                  <a:cubicBezTo>
                    <a:pt x="158" y="0"/>
                    <a:pt x="0" y="158"/>
                    <a:pt x="0" y="347"/>
                  </a:cubicBezTo>
                  <a:cubicBezTo>
                    <a:pt x="0" y="536"/>
                    <a:pt x="158" y="694"/>
                    <a:pt x="347" y="694"/>
                  </a:cubicBezTo>
                  <a:cubicBezTo>
                    <a:pt x="536" y="694"/>
                    <a:pt x="693" y="536"/>
                    <a:pt x="693" y="347"/>
                  </a:cubicBezTo>
                  <a:cubicBezTo>
                    <a:pt x="693" y="158"/>
                    <a:pt x="536" y="0"/>
                    <a:pt x="34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1" name="Google Shape;1631;p43">
              <a:extLst>
                <a:ext uri="{FF2B5EF4-FFF2-40B4-BE49-F238E27FC236}">
                  <a16:creationId xmlns:a16="http://schemas.microsoft.com/office/drawing/2014/main" id="{07782323-C0CC-41D8-B4F3-0DDE4ED6702C}"/>
                </a:ext>
              </a:extLst>
            </p:cNvPr>
            <p:cNvSpPr/>
            <p:nvPr/>
          </p:nvSpPr>
          <p:spPr>
            <a:xfrm>
              <a:off x="-1129200" y="4099950"/>
              <a:ext cx="17350" cy="17350"/>
            </a:xfrm>
            <a:custGeom>
              <a:avLst/>
              <a:gdLst/>
              <a:ahLst/>
              <a:cxnLst/>
              <a:rect l="l" t="t" r="r" b="b"/>
              <a:pathLst>
                <a:path w="694" h="694" extrusionOk="0">
                  <a:moveTo>
                    <a:pt x="347" y="1"/>
                  </a:moveTo>
                  <a:cubicBezTo>
                    <a:pt x="158" y="1"/>
                    <a:pt x="0" y="158"/>
                    <a:pt x="0" y="347"/>
                  </a:cubicBezTo>
                  <a:cubicBezTo>
                    <a:pt x="0" y="536"/>
                    <a:pt x="158" y="694"/>
                    <a:pt x="347" y="694"/>
                  </a:cubicBezTo>
                  <a:cubicBezTo>
                    <a:pt x="536" y="694"/>
                    <a:pt x="693" y="536"/>
                    <a:pt x="693" y="347"/>
                  </a:cubicBezTo>
                  <a:cubicBezTo>
                    <a:pt x="693" y="158"/>
                    <a:pt x="536" y="1"/>
                    <a:pt x="34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2" name="Google Shape;1632;p43">
              <a:extLst>
                <a:ext uri="{FF2B5EF4-FFF2-40B4-BE49-F238E27FC236}">
                  <a16:creationId xmlns:a16="http://schemas.microsoft.com/office/drawing/2014/main" id="{4FC021BB-2712-497C-A43A-A3363A641062}"/>
                </a:ext>
              </a:extLst>
            </p:cNvPr>
            <p:cNvSpPr/>
            <p:nvPr/>
          </p:nvSpPr>
          <p:spPr>
            <a:xfrm>
              <a:off x="-1009475" y="4081850"/>
              <a:ext cx="18125" cy="17350"/>
            </a:xfrm>
            <a:custGeom>
              <a:avLst/>
              <a:gdLst/>
              <a:ahLst/>
              <a:cxnLst/>
              <a:rect l="l" t="t" r="r" b="b"/>
              <a:pathLst>
                <a:path w="725" h="694" extrusionOk="0">
                  <a:moveTo>
                    <a:pt x="347" y="0"/>
                  </a:moveTo>
                  <a:cubicBezTo>
                    <a:pt x="158" y="0"/>
                    <a:pt x="0" y="158"/>
                    <a:pt x="0" y="347"/>
                  </a:cubicBezTo>
                  <a:cubicBezTo>
                    <a:pt x="0" y="536"/>
                    <a:pt x="158" y="693"/>
                    <a:pt x="347" y="693"/>
                  </a:cubicBezTo>
                  <a:cubicBezTo>
                    <a:pt x="567" y="693"/>
                    <a:pt x="725" y="536"/>
                    <a:pt x="725" y="347"/>
                  </a:cubicBezTo>
                  <a:cubicBezTo>
                    <a:pt x="725" y="158"/>
                    <a:pt x="567" y="0"/>
                    <a:pt x="34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3" name="Google Shape;1633;p43">
              <a:extLst>
                <a:ext uri="{FF2B5EF4-FFF2-40B4-BE49-F238E27FC236}">
                  <a16:creationId xmlns:a16="http://schemas.microsoft.com/office/drawing/2014/main" id="{61BDF281-6AF0-4E91-9E74-617421428A7A}"/>
                </a:ext>
              </a:extLst>
            </p:cNvPr>
            <p:cNvSpPr/>
            <p:nvPr/>
          </p:nvSpPr>
          <p:spPr>
            <a:xfrm>
              <a:off x="-1182750" y="4168475"/>
              <a:ext cx="292225" cy="34675"/>
            </a:xfrm>
            <a:custGeom>
              <a:avLst/>
              <a:gdLst/>
              <a:ahLst/>
              <a:cxnLst/>
              <a:rect l="l" t="t" r="r" b="b"/>
              <a:pathLst>
                <a:path w="11689" h="1387" extrusionOk="0">
                  <a:moveTo>
                    <a:pt x="0" y="1"/>
                  </a:moveTo>
                  <a:lnTo>
                    <a:pt x="0" y="347"/>
                  </a:lnTo>
                  <a:lnTo>
                    <a:pt x="63" y="347"/>
                  </a:lnTo>
                  <a:cubicBezTo>
                    <a:pt x="63" y="914"/>
                    <a:pt x="504" y="1387"/>
                    <a:pt x="1071" y="1387"/>
                  </a:cubicBezTo>
                  <a:lnTo>
                    <a:pt x="10680" y="1387"/>
                  </a:lnTo>
                  <a:cubicBezTo>
                    <a:pt x="11247" y="1387"/>
                    <a:pt x="11688" y="914"/>
                    <a:pt x="11688" y="347"/>
                  </a:cubicBezTo>
                  <a:lnTo>
                    <a:pt x="11688"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4" name="Google Shape;1634;p43">
              <a:extLst>
                <a:ext uri="{FF2B5EF4-FFF2-40B4-BE49-F238E27FC236}">
                  <a16:creationId xmlns:a16="http://schemas.microsoft.com/office/drawing/2014/main" id="{51600540-8604-42ED-96CC-1569FCAE2921}"/>
                </a:ext>
              </a:extLst>
            </p:cNvPr>
            <p:cNvSpPr/>
            <p:nvPr/>
          </p:nvSpPr>
          <p:spPr>
            <a:xfrm>
              <a:off x="-1117400" y="4220475"/>
              <a:ext cx="161500" cy="33875"/>
            </a:xfrm>
            <a:custGeom>
              <a:avLst/>
              <a:gdLst/>
              <a:ahLst/>
              <a:cxnLst/>
              <a:rect l="l" t="t" r="r" b="b"/>
              <a:pathLst>
                <a:path w="6460" h="1355" extrusionOk="0">
                  <a:moveTo>
                    <a:pt x="1513" y="0"/>
                  </a:moveTo>
                  <a:lnTo>
                    <a:pt x="1356" y="693"/>
                  </a:lnTo>
                  <a:lnTo>
                    <a:pt x="474" y="693"/>
                  </a:lnTo>
                  <a:cubicBezTo>
                    <a:pt x="32" y="693"/>
                    <a:pt x="1" y="1355"/>
                    <a:pt x="474" y="1355"/>
                  </a:cubicBezTo>
                  <a:lnTo>
                    <a:pt x="5924" y="1355"/>
                  </a:lnTo>
                  <a:cubicBezTo>
                    <a:pt x="6459" y="1355"/>
                    <a:pt x="6459" y="693"/>
                    <a:pt x="5987" y="693"/>
                  </a:cubicBezTo>
                  <a:lnTo>
                    <a:pt x="5073" y="693"/>
                  </a:lnTo>
                  <a:lnTo>
                    <a:pt x="4916" y="0"/>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5" name="Google Shape;1635;p43">
              <a:extLst>
                <a:ext uri="{FF2B5EF4-FFF2-40B4-BE49-F238E27FC236}">
                  <a16:creationId xmlns:a16="http://schemas.microsoft.com/office/drawing/2014/main" id="{D12D3476-ECA3-4D02-9DB2-CB2D7B1619D2}"/>
                </a:ext>
              </a:extLst>
            </p:cNvPr>
            <p:cNvSpPr/>
            <p:nvPr/>
          </p:nvSpPr>
          <p:spPr>
            <a:xfrm>
              <a:off x="-958300" y="4014100"/>
              <a:ext cx="18150" cy="17350"/>
            </a:xfrm>
            <a:custGeom>
              <a:avLst/>
              <a:gdLst/>
              <a:ahLst/>
              <a:cxnLst/>
              <a:rect l="l" t="t" r="r" b="b"/>
              <a:pathLst>
                <a:path w="726" h="694" extrusionOk="0">
                  <a:moveTo>
                    <a:pt x="348" y="1"/>
                  </a:moveTo>
                  <a:cubicBezTo>
                    <a:pt x="158" y="1"/>
                    <a:pt x="1" y="158"/>
                    <a:pt x="1" y="347"/>
                  </a:cubicBezTo>
                  <a:cubicBezTo>
                    <a:pt x="1" y="536"/>
                    <a:pt x="158" y="694"/>
                    <a:pt x="348" y="694"/>
                  </a:cubicBezTo>
                  <a:cubicBezTo>
                    <a:pt x="568" y="694"/>
                    <a:pt x="726" y="536"/>
                    <a:pt x="726" y="347"/>
                  </a:cubicBezTo>
                  <a:cubicBezTo>
                    <a:pt x="726" y="158"/>
                    <a:pt x="568" y="1"/>
                    <a:pt x="34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56" name="Google Shape;1636;p43">
              <a:extLst>
                <a:ext uri="{FF2B5EF4-FFF2-40B4-BE49-F238E27FC236}">
                  <a16:creationId xmlns:a16="http://schemas.microsoft.com/office/drawing/2014/main" id="{A4F8E6CF-8BCE-476E-BD11-56CD12481FC6}"/>
                </a:ext>
              </a:extLst>
            </p:cNvPr>
            <p:cNvSpPr/>
            <p:nvPr/>
          </p:nvSpPr>
          <p:spPr>
            <a:xfrm>
              <a:off x="-1180400" y="3962900"/>
              <a:ext cx="292225" cy="188275"/>
            </a:xfrm>
            <a:custGeom>
              <a:avLst/>
              <a:gdLst/>
              <a:ahLst/>
              <a:cxnLst/>
              <a:rect l="l" t="t" r="r" b="b"/>
              <a:pathLst>
                <a:path w="11689" h="7531" extrusionOk="0">
                  <a:moveTo>
                    <a:pt x="9232" y="1324"/>
                  </a:moveTo>
                  <a:cubicBezTo>
                    <a:pt x="9799" y="1324"/>
                    <a:pt x="10271" y="1797"/>
                    <a:pt x="10271" y="2364"/>
                  </a:cubicBezTo>
                  <a:cubicBezTo>
                    <a:pt x="10271" y="2922"/>
                    <a:pt x="9822" y="3391"/>
                    <a:pt x="9247" y="3391"/>
                  </a:cubicBezTo>
                  <a:cubicBezTo>
                    <a:pt x="9140" y="3391"/>
                    <a:pt x="9029" y="3375"/>
                    <a:pt x="8916" y="3341"/>
                  </a:cubicBezTo>
                  <a:lnTo>
                    <a:pt x="8034" y="4538"/>
                  </a:lnTo>
                  <a:cubicBezTo>
                    <a:pt x="8507" y="5199"/>
                    <a:pt x="7971" y="6144"/>
                    <a:pt x="7152" y="6144"/>
                  </a:cubicBezTo>
                  <a:cubicBezTo>
                    <a:pt x="6491" y="6144"/>
                    <a:pt x="5987" y="5514"/>
                    <a:pt x="6176" y="4790"/>
                  </a:cubicBezTo>
                  <a:lnTo>
                    <a:pt x="4978" y="3908"/>
                  </a:lnTo>
                  <a:cubicBezTo>
                    <a:pt x="4839" y="4007"/>
                    <a:pt x="4661" y="4069"/>
                    <a:pt x="4470" y="4069"/>
                  </a:cubicBezTo>
                  <a:cubicBezTo>
                    <a:pt x="4359" y="4069"/>
                    <a:pt x="4243" y="4048"/>
                    <a:pt x="4128" y="4002"/>
                  </a:cubicBezTo>
                  <a:lnTo>
                    <a:pt x="3214" y="5199"/>
                  </a:lnTo>
                  <a:cubicBezTo>
                    <a:pt x="3340" y="5357"/>
                    <a:pt x="3372" y="5546"/>
                    <a:pt x="3372" y="5735"/>
                  </a:cubicBezTo>
                  <a:cubicBezTo>
                    <a:pt x="3372" y="6302"/>
                    <a:pt x="2899" y="6775"/>
                    <a:pt x="2363" y="6775"/>
                  </a:cubicBezTo>
                  <a:cubicBezTo>
                    <a:pt x="1796" y="6775"/>
                    <a:pt x="1324" y="6302"/>
                    <a:pt x="1324" y="5735"/>
                  </a:cubicBezTo>
                  <a:cubicBezTo>
                    <a:pt x="1324" y="5199"/>
                    <a:pt x="1796" y="4727"/>
                    <a:pt x="2363" y="4727"/>
                  </a:cubicBezTo>
                  <a:cubicBezTo>
                    <a:pt x="2489" y="4727"/>
                    <a:pt x="2552" y="4758"/>
                    <a:pt x="2678" y="4758"/>
                  </a:cubicBezTo>
                  <a:lnTo>
                    <a:pt x="3592" y="3593"/>
                  </a:lnTo>
                  <a:cubicBezTo>
                    <a:pt x="3120" y="2899"/>
                    <a:pt x="3624" y="1954"/>
                    <a:pt x="4443" y="1954"/>
                  </a:cubicBezTo>
                  <a:cubicBezTo>
                    <a:pt x="5104" y="1954"/>
                    <a:pt x="5640" y="2584"/>
                    <a:pt x="5419" y="3309"/>
                  </a:cubicBezTo>
                  <a:lnTo>
                    <a:pt x="6617" y="4223"/>
                  </a:lnTo>
                  <a:cubicBezTo>
                    <a:pt x="6766" y="4116"/>
                    <a:pt x="6959" y="4038"/>
                    <a:pt x="7165" y="4038"/>
                  </a:cubicBezTo>
                  <a:cubicBezTo>
                    <a:pt x="7264" y="4038"/>
                    <a:pt x="7365" y="4056"/>
                    <a:pt x="7467" y="4097"/>
                  </a:cubicBezTo>
                  <a:lnTo>
                    <a:pt x="8381" y="2899"/>
                  </a:lnTo>
                  <a:cubicBezTo>
                    <a:pt x="8255" y="2742"/>
                    <a:pt x="8223" y="2553"/>
                    <a:pt x="8223" y="2364"/>
                  </a:cubicBezTo>
                  <a:cubicBezTo>
                    <a:pt x="8223" y="1797"/>
                    <a:pt x="8696" y="1324"/>
                    <a:pt x="9232" y="1324"/>
                  </a:cubicBezTo>
                  <a:close/>
                  <a:moveTo>
                    <a:pt x="1009" y="1"/>
                  </a:moveTo>
                  <a:cubicBezTo>
                    <a:pt x="473" y="1"/>
                    <a:pt x="1" y="474"/>
                    <a:pt x="1" y="1009"/>
                  </a:cubicBezTo>
                  <a:lnTo>
                    <a:pt x="1" y="7531"/>
                  </a:lnTo>
                  <a:lnTo>
                    <a:pt x="11689" y="7531"/>
                  </a:lnTo>
                  <a:lnTo>
                    <a:pt x="11689" y="1009"/>
                  </a:lnTo>
                  <a:cubicBezTo>
                    <a:pt x="11657" y="411"/>
                    <a:pt x="11185" y="1"/>
                    <a:pt x="1061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58" name="Google Shape;1638;p43">
            <a:extLst>
              <a:ext uri="{FF2B5EF4-FFF2-40B4-BE49-F238E27FC236}">
                <a16:creationId xmlns:a16="http://schemas.microsoft.com/office/drawing/2014/main" id="{D6939E02-D6F7-4FB3-ACE0-A62CC748B32A}"/>
              </a:ext>
            </a:extLst>
          </p:cNvPr>
          <p:cNvSpPr txBox="1"/>
          <p:nvPr/>
        </p:nvSpPr>
        <p:spPr>
          <a:xfrm>
            <a:off x="7513410" y="4805759"/>
            <a:ext cx="4516952" cy="1668660"/>
          </a:xfrm>
          <a:prstGeom prst="rect">
            <a:avLst/>
          </a:prstGeom>
          <a:noFill/>
          <a:ln>
            <a:noFill/>
          </a:ln>
        </p:spPr>
        <p:txBody>
          <a:bodyPr spcFirstLastPara="1" wrap="square" lIns="121900" tIns="121900" rIns="121900" bIns="121900" anchor="ctr" anchorCtr="0">
            <a:noAutofit/>
          </a:bodyPr>
          <a:lstStyle/>
          <a:p>
            <a:pPr marR="0" lvl="0" indent="0" algn="just" defTabSz="1219170" fontAlgn="auto">
              <a:lnSpc>
                <a:spcPct val="100000"/>
              </a:lnSpc>
              <a:spcBef>
                <a:spcPts val="0"/>
              </a:spcBef>
              <a:spcAft>
                <a:spcPts val="0"/>
              </a:spcAft>
              <a:buClr>
                <a:srgbClr val="000000"/>
              </a:buClr>
              <a:buSzTx/>
              <a:buFont typeface="Arial"/>
              <a:buNone/>
              <a:tabLst/>
              <a:defRPr/>
            </a:pPr>
            <a:endParaRPr lang="en-US" b="1" kern="0" dirty="0">
              <a:solidFill>
                <a:srgbClr val="FF0000"/>
              </a:solidFill>
              <a:latin typeface="Times New Roman" panose="02020603050405020304" pitchFamily="18" charset="0"/>
              <a:cs typeface="Times New Roman" panose="02020603050405020304" pitchFamily="18" charset="0"/>
              <a:sym typeface="Calibri"/>
            </a:endParaRPr>
          </a:p>
        </p:txBody>
      </p:sp>
      <p:grpSp>
        <p:nvGrpSpPr>
          <p:cNvPr id="260" name="Google Shape;1640;p43">
            <a:extLst>
              <a:ext uri="{FF2B5EF4-FFF2-40B4-BE49-F238E27FC236}">
                <a16:creationId xmlns:a16="http://schemas.microsoft.com/office/drawing/2014/main" id="{D820DF19-A17B-4555-A1C5-E9F8D083B29B}"/>
              </a:ext>
            </a:extLst>
          </p:cNvPr>
          <p:cNvGrpSpPr/>
          <p:nvPr/>
        </p:nvGrpSpPr>
        <p:grpSpPr>
          <a:xfrm>
            <a:off x="6065086" y="4760942"/>
            <a:ext cx="378117" cy="350988"/>
            <a:chOff x="-3808700" y="3628950"/>
            <a:chExt cx="296175" cy="274925"/>
          </a:xfrm>
        </p:grpSpPr>
        <p:sp>
          <p:nvSpPr>
            <p:cNvPr id="261" name="Google Shape;1641;p43">
              <a:extLst>
                <a:ext uri="{FF2B5EF4-FFF2-40B4-BE49-F238E27FC236}">
                  <a16:creationId xmlns:a16="http://schemas.microsoft.com/office/drawing/2014/main" id="{79F3C16D-FD76-498A-9F58-8B2D7C1A3D23}"/>
                </a:ext>
              </a:extLst>
            </p:cNvPr>
            <p:cNvSpPr/>
            <p:nvPr/>
          </p:nvSpPr>
          <p:spPr>
            <a:xfrm>
              <a:off x="-3665972" y="3680950"/>
              <a:ext cx="51200" cy="51225"/>
            </a:xfrm>
            <a:custGeom>
              <a:avLst/>
              <a:gdLst/>
              <a:ahLst/>
              <a:cxnLst/>
              <a:rect l="l" t="t" r="r" b="b"/>
              <a:pathLst>
                <a:path w="2048" h="2049" extrusionOk="0">
                  <a:moveTo>
                    <a:pt x="1008" y="0"/>
                  </a:moveTo>
                  <a:cubicBezTo>
                    <a:pt x="441" y="0"/>
                    <a:pt x="0" y="473"/>
                    <a:pt x="0" y="1040"/>
                  </a:cubicBezTo>
                  <a:cubicBezTo>
                    <a:pt x="0" y="1607"/>
                    <a:pt x="441" y="2048"/>
                    <a:pt x="1008" y="2048"/>
                  </a:cubicBezTo>
                  <a:cubicBezTo>
                    <a:pt x="1575" y="2048"/>
                    <a:pt x="2048" y="1607"/>
                    <a:pt x="2048" y="1040"/>
                  </a:cubicBezTo>
                  <a:cubicBezTo>
                    <a:pt x="2048" y="473"/>
                    <a:pt x="1575" y="0"/>
                    <a:pt x="100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62" name="Google Shape;1642;p43">
              <a:extLst>
                <a:ext uri="{FF2B5EF4-FFF2-40B4-BE49-F238E27FC236}">
                  <a16:creationId xmlns:a16="http://schemas.microsoft.com/office/drawing/2014/main" id="{26A7F249-F655-49C2-8023-06CD105C67AE}"/>
                </a:ext>
              </a:extLst>
            </p:cNvPr>
            <p:cNvSpPr/>
            <p:nvPr/>
          </p:nvSpPr>
          <p:spPr>
            <a:xfrm>
              <a:off x="-3808700" y="3664400"/>
              <a:ext cx="296175" cy="239475"/>
            </a:xfrm>
            <a:custGeom>
              <a:avLst/>
              <a:gdLst/>
              <a:ahLst/>
              <a:cxnLst/>
              <a:rect l="l" t="t" r="r" b="b"/>
              <a:pathLst>
                <a:path w="11847" h="9579" extrusionOk="0">
                  <a:moveTo>
                    <a:pt x="3970" y="8223"/>
                  </a:moveTo>
                  <a:cubicBezTo>
                    <a:pt x="4159" y="8223"/>
                    <a:pt x="4316" y="8381"/>
                    <a:pt x="4316" y="8570"/>
                  </a:cubicBezTo>
                  <a:cubicBezTo>
                    <a:pt x="4316" y="8791"/>
                    <a:pt x="4159" y="8948"/>
                    <a:pt x="3970" y="8948"/>
                  </a:cubicBezTo>
                  <a:cubicBezTo>
                    <a:pt x="3781" y="8948"/>
                    <a:pt x="3623" y="8791"/>
                    <a:pt x="3623" y="8570"/>
                  </a:cubicBezTo>
                  <a:cubicBezTo>
                    <a:pt x="3623" y="8349"/>
                    <a:pt x="3781" y="8223"/>
                    <a:pt x="3970" y="8223"/>
                  </a:cubicBezTo>
                  <a:close/>
                  <a:moveTo>
                    <a:pt x="8727" y="8223"/>
                  </a:moveTo>
                  <a:cubicBezTo>
                    <a:pt x="8916" y="8223"/>
                    <a:pt x="9074" y="8381"/>
                    <a:pt x="9074" y="8570"/>
                  </a:cubicBezTo>
                  <a:cubicBezTo>
                    <a:pt x="9074" y="8791"/>
                    <a:pt x="8916" y="8948"/>
                    <a:pt x="8727" y="8948"/>
                  </a:cubicBezTo>
                  <a:cubicBezTo>
                    <a:pt x="8538" y="8948"/>
                    <a:pt x="8381" y="8791"/>
                    <a:pt x="8381" y="8570"/>
                  </a:cubicBezTo>
                  <a:cubicBezTo>
                    <a:pt x="8412" y="8349"/>
                    <a:pt x="8538" y="8223"/>
                    <a:pt x="8727" y="8223"/>
                  </a:cubicBezTo>
                  <a:close/>
                  <a:moveTo>
                    <a:pt x="473" y="1"/>
                  </a:moveTo>
                  <a:cubicBezTo>
                    <a:pt x="32" y="1"/>
                    <a:pt x="0" y="662"/>
                    <a:pt x="473" y="662"/>
                  </a:cubicBezTo>
                  <a:lnTo>
                    <a:pt x="819" y="662"/>
                  </a:lnTo>
                  <a:cubicBezTo>
                    <a:pt x="977" y="662"/>
                    <a:pt x="1134" y="788"/>
                    <a:pt x="1166" y="946"/>
                  </a:cubicBezTo>
                  <a:lnTo>
                    <a:pt x="2143" y="6428"/>
                  </a:lnTo>
                  <a:cubicBezTo>
                    <a:pt x="1481" y="7058"/>
                    <a:pt x="1922" y="8192"/>
                    <a:pt x="2867" y="8192"/>
                  </a:cubicBezTo>
                  <a:lnTo>
                    <a:pt x="2930" y="8192"/>
                  </a:lnTo>
                  <a:cubicBezTo>
                    <a:pt x="2899" y="8318"/>
                    <a:pt x="2867" y="8412"/>
                    <a:pt x="2867" y="8538"/>
                  </a:cubicBezTo>
                  <a:cubicBezTo>
                    <a:pt x="2867" y="9106"/>
                    <a:pt x="3340" y="9578"/>
                    <a:pt x="3875" y="9578"/>
                  </a:cubicBezTo>
                  <a:cubicBezTo>
                    <a:pt x="4442" y="9578"/>
                    <a:pt x="4915" y="9106"/>
                    <a:pt x="4915" y="8538"/>
                  </a:cubicBezTo>
                  <a:cubicBezTo>
                    <a:pt x="4915" y="8412"/>
                    <a:pt x="4884" y="8318"/>
                    <a:pt x="4821" y="8192"/>
                  </a:cubicBezTo>
                  <a:lnTo>
                    <a:pt x="7719" y="8192"/>
                  </a:lnTo>
                  <a:cubicBezTo>
                    <a:pt x="7656" y="8318"/>
                    <a:pt x="7624" y="8412"/>
                    <a:pt x="7624" y="8538"/>
                  </a:cubicBezTo>
                  <a:cubicBezTo>
                    <a:pt x="7624" y="9106"/>
                    <a:pt x="8097" y="9578"/>
                    <a:pt x="8664" y="9578"/>
                  </a:cubicBezTo>
                  <a:cubicBezTo>
                    <a:pt x="9200" y="9578"/>
                    <a:pt x="9672" y="9106"/>
                    <a:pt x="9672" y="8538"/>
                  </a:cubicBezTo>
                  <a:cubicBezTo>
                    <a:pt x="9672" y="8412"/>
                    <a:pt x="9641" y="8318"/>
                    <a:pt x="9609" y="8192"/>
                  </a:cubicBezTo>
                  <a:lnTo>
                    <a:pt x="9987" y="8192"/>
                  </a:lnTo>
                  <a:cubicBezTo>
                    <a:pt x="10176" y="8192"/>
                    <a:pt x="10334" y="8034"/>
                    <a:pt x="10334" y="7845"/>
                  </a:cubicBezTo>
                  <a:cubicBezTo>
                    <a:pt x="10334" y="7625"/>
                    <a:pt x="10176" y="7467"/>
                    <a:pt x="9987" y="7467"/>
                  </a:cubicBezTo>
                  <a:lnTo>
                    <a:pt x="2773" y="7467"/>
                  </a:lnTo>
                  <a:cubicBezTo>
                    <a:pt x="2759" y="7470"/>
                    <a:pt x="2746" y="7471"/>
                    <a:pt x="2733" y="7471"/>
                  </a:cubicBezTo>
                  <a:cubicBezTo>
                    <a:pt x="2459" y="7471"/>
                    <a:pt x="2477" y="6837"/>
                    <a:pt x="2899" y="6837"/>
                  </a:cubicBezTo>
                  <a:lnTo>
                    <a:pt x="10145" y="6837"/>
                  </a:lnTo>
                  <a:cubicBezTo>
                    <a:pt x="10302" y="6837"/>
                    <a:pt x="10428" y="6774"/>
                    <a:pt x="10460" y="6617"/>
                  </a:cubicBezTo>
                  <a:lnTo>
                    <a:pt x="11815" y="2553"/>
                  </a:lnTo>
                  <a:cubicBezTo>
                    <a:pt x="11846" y="2427"/>
                    <a:pt x="11815" y="2332"/>
                    <a:pt x="11752" y="2238"/>
                  </a:cubicBezTo>
                  <a:cubicBezTo>
                    <a:pt x="11657" y="2080"/>
                    <a:pt x="11500" y="2048"/>
                    <a:pt x="10775" y="2048"/>
                  </a:cubicBezTo>
                  <a:lnTo>
                    <a:pt x="10491" y="2048"/>
                  </a:lnTo>
                  <a:lnTo>
                    <a:pt x="10491" y="2395"/>
                  </a:lnTo>
                  <a:cubicBezTo>
                    <a:pt x="10491" y="2584"/>
                    <a:pt x="10334" y="2742"/>
                    <a:pt x="10145" y="2742"/>
                  </a:cubicBezTo>
                  <a:lnTo>
                    <a:pt x="9641" y="2742"/>
                  </a:lnTo>
                  <a:cubicBezTo>
                    <a:pt x="9609" y="2868"/>
                    <a:pt x="9546" y="2962"/>
                    <a:pt x="9515" y="3057"/>
                  </a:cubicBezTo>
                  <a:lnTo>
                    <a:pt x="9861" y="3435"/>
                  </a:lnTo>
                  <a:cubicBezTo>
                    <a:pt x="9987" y="3529"/>
                    <a:pt x="9987" y="3781"/>
                    <a:pt x="9861" y="3907"/>
                  </a:cubicBezTo>
                  <a:lnTo>
                    <a:pt x="8885" y="4884"/>
                  </a:lnTo>
                  <a:cubicBezTo>
                    <a:pt x="8822" y="4947"/>
                    <a:pt x="8735" y="4978"/>
                    <a:pt x="8648" y="4978"/>
                  </a:cubicBezTo>
                  <a:cubicBezTo>
                    <a:pt x="8562" y="4978"/>
                    <a:pt x="8475" y="4947"/>
                    <a:pt x="8412" y="4884"/>
                  </a:cubicBezTo>
                  <a:lnTo>
                    <a:pt x="8066" y="4537"/>
                  </a:lnTo>
                  <a:cubicBezTo>
                    <a:pt x="7971" y="4569"/>
                    <a:pt x="7877" y="4600"/>
                    <a:pt x="7751" y="4632"/>
                  </a:cubicBezTo>
                  <a:lnTo>
                    <a:pt x="7751" y="5167"/>
                  </a:lnTo>
                  <a:cubicBezTo>
                    <a:pt x="7751" y="5356"/>
                    <a:pt x="7593" y="5514"/>
                    <a:pt x="7404" y="5514"/>
                  </a:cubicBezTo>
                  <a:lnTo>
                    <a:pt x="5986" y="5514"/>
                  </a:lnTo>
                  <a:cubicBezTo>
                    <a:pt x="5766" y="5514"/>
                    <a:pt x="5608" y="5356"/>
                    <a:pt x="5608" y="5167"/>
                  </a:cubicBezTo>
                  <a:lnTo>
                    <a:pt x="5608" y="4632"/>
                  </a:lnTo>
                  <a:cubicBezTo>
                    <a:pt x="5514" y="4600"/>
                    <a:pt x="5419" y="4569"/>
                    <a:pt x="5293" y="4537"/>
                  </a:cubicBezTo>
                  <a:lnTo>
                    <a:pt x="4947" y="4884"/>
                  </a:lnTo>
                  <a:cubicBezTo>
                    <a:pt x="4884" y="4947"/>
                    <a:pt x="4797" y="4978"/>
                    <a:pt x="4710" y="4978"/>
                  </a:cubicBezTo>
                  <a:cubicBezTo>
                    <a:pt x="4624" y="4978"/>
                    <a:pt x="4537" y="4947"/>
                    <a:pt x="4474" y="4884"/>
                  </a:cubicBezTo>
                  <a:lnTo>
                    <a:pt x="3497" y="3907"/>
                  </a:lnTo>
                  <a:cubicBezTo>
                    <a:pt x="3371" y="3781"/>
                    <a:pt x="3371" y="3529"/>
                    <a:pt x="3497" y="3435"/>
                  </a:cubicBezTo>
                  <a:lnTo>
                    <a:pt x="3844" y="3057"/>
                  </a:lnTo>
                  <a:cubicBezTo>
                    <a:pt x="3812" y="2994"/>
                    <a:pt x="3781" y="2868"/>
                    <a:pt x="3718" y="2742"/>
                  </a:cubicBezTo>
                  <a:lnTo>
                    <a:pt x="3214" y="2742"/>
                  </a:lnTo>
                  <a:cubicBezTo>
                    <a:pt x="3025" y="2742"/>
                    <a:pt x="2867" y="2584"/>
                    <a:pt x="2867" y="2395"/>
                  </a:cubicBezTo>
                  <a:lnTo>
                    <a:pt x="2867" y="2048"/>
                  </a:lnTo>
                  <a:lnTo>
                    <a:pt x="2080" y="2048"/>
                  </a:lnTo>
                  <a:lnTo>
                    <a:pt x="1828" y="820"/>
                  </a:lnTo>
                  <a:cubicBezTo>
                    <a:pt x="1765" y="347"/>
                    <a:pt x="1324" y="1"/>
                    <a:pt x="81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63" name="Google Shape;1643;p43">
              <a:extLst>
                <a:ext uri="{FF2B5EF4-FFF2-40B4-BE49-F238E27FC236}">
                  <a16:creationId xmlns:a16="http://schemas.microsoft.com/office/drawing/2014/main" id="{E52DB7A3-0651-4525-97E0-73DC37173B42}"/>
                </a:ext>
              </a:extLst>
            </p:cNvPr>
            <p:cNvSpPr/>
            <p:nvPr/>
          </p:nvSpPr>
          <p:spPr>
            <a:xfrm>
              <a:off x="-3718359" y="3628950"/>
              <a:ext cx="155975" cy="156775"/>
            </a:xfrm>
            <a:custGeom>
              <a:avLst/>
              <a:gdLst/>
              <a:ahLst/>
              <a:cxnLst/>
              <a:rect l="l" t="t" r="r" b="b"/>
              <a:pathLst>
                <a:path w="6239" h="6271" extrusionOk="0">
                  <a:moveTo>
                    <a:pt x="3056" y="1419"/>
                  </a:moveTo>
                  <a:cubicBezTo>
                    <a:pt x="4001" y="1419"/>
                    <a:pt x="4758" y="2175"/>
                    <a:pt x="4758" y="3120"/>
                  </a:cubicBezTo>
                  <a:cubicBezTo>
                    <a:pt x="4758" y="4065"/>
                    <a:pt x="4001" y="4821"/>
                    <a:pt x="3056" y="4821"/>
                  </a:cubicBezTo>
                  <a:cubicBezTo>
                    <a:pt x="2111" y="4821"/>
                    <a:pt x="1355" y="4065"/>
                    <a:pt x="1355" y="3120"/>
                  </a:cubicBezTo>
                  <a:cubicBezTo>
                    <a:pt x="1355" y="2175"/>
                    <a:pt x="2111" y="1419"/>
                    <a:pt x="3056" y="1419"/>
                  </a:cubicBezTo>
                  <a:close/>
                  <a:moveTo>
                    <a:pt x="2773" y="1"/>
                  </a:moveTo>
                  <a:lnTo>
                    <a:pt x="2773" y="442"/>
                  </a:lnTo>
                  <a:cubicBezTo>
                    <a:pt x="2773" y="600"/>
                    <a:pt x="2678" y="726"/>
                    <a:pt x="2521" y="757"/>
                  </a:cubicBezTo>
                  <a:cubicBezTo>
                    <a:pt x="2300" y="789"/>
                    <a:pt x="2080" y="915"/>
                    <a:pt x="1891" y="1041"/>
                  </a:cubicBezTo>
                  <a:cubicBezTo>
                    <a:pt x="1846" y="1063"/>
                    <a:pt x="1793" y="1073"/>
                    <a:pt x="1739" y="1073"/>
                  </a:cubicBezTo>
                  <a:cubicBezTo>
                    <a:pt x="1639" y="1073"/>
                    <a:pt x="1531" y="1039"/>
                    <a:pt x="1450" y="978"/>
                  </a:cubicBezTo>
                  <a:lnTo>
                    <a:pt x="1135" y="663"/>
                  </a:lnTo>
                  <a:lnTo>
                    <a:pt x="662" y="1135"/>
                  </a:lnTo>
                  <a:lnTo>
                    <a:pt x="977" y="1450"/>
                  </a:lnTo>
                  <a:cubicBezTo>
                    <a:pt x="1103" y="1576"/>
                    <a:pt x="1103" y="1734"/>
                    <a:pt x="1009" y="1891"/>
                  </a:cubicBezTo>
                  <a:cubicBezTo>
                    <a:pt x="883" y="2080"/>
                    <a:pt x="819" y="2301"/>
                    <a:pt x="725" y="2521"/>
                  </a:cubicBezTo>
                  <a:cubicBezTo>
                    <a:pt x="693" y="2679"/>
                    <a:pt x="599" y="2805"/>
                    <a:pt x="410" y="2805"/>
                  </a:cubicBezTo>
                  <a:lnTo>
                    <a:pt x="0" y="2805"/>
                  </a:lnTo>
                  <a:lnTo>
                    <a:pt x="0" y="3466"/>
                  </a:lnTo>
                  <a:lnTo>
                    <a:pt x="410" y="3466"/>
                  </a:lnTo>
                  <a:cubicBezTo>
                    <a:pt x="567" y="3466"/>
                    <a:pt x="693" y="3593"/>
                    <a:pt x="725" y="3750"/>
                  </a:cubicBezTo>
                  <a:cubicBezTo>
                    <a:pt x="788" y="3939"/>
                    <a:pt x="883" y="4191"/>
                    <a:pt x="1009" y="4380"/>
                  </a:cubicBezTo>
                  <a:cubicBezTo>
                    <a:pt x="1103" y="4506"/>
                    <a:pt x="1040" y="4695"/>
                    <a:pt x="977" y="4821"/>
                  </a:cubicBezTo>
                  <a:lnTo>
                    <a:pt x="662" y="5136"/>
                  </a:lnTo>
                  <a:lnTo>
                    <a:pt x="1135" y="5609"/>
                  </a:lnTo>
                  <a:lnTo>
                    <a:pt x="1450" y="5294"/>
                  </a:lnTo>
                  <a:cubicBezTo>
                    <a:pt x="1523" y="5220"/>
                    <a:pt x="1608" y="5189"/>
                    <a:pt x="1697" y="5189"/>
                  </a:cubicBezTo>
                  <a:cubicBezTo>
                    <a:pt x="1760" y="5189"/>
                    <a:pt x="1825" y="5205"/>
                    <a:pt x="1891" y="5231"/>
                  </a:cubicBezTo>
                  <a:cubicBezTo>
                    <a:pt x="2080" y="5357"/>
                    <a:pt x="2269" y="5451"/>
                    <a:pt x="2521" y="5514"/>
                  </a:cubicBezTo>
                  <a:cubicBezTo>
                    <a:pt x="2678" y="5546"/>
                    <a:pt x="2773" y="5672"/>
                    <a:pt x="2773" y="5829"/>
                  </a:cubicBezTo>
                  <a:lnTo>
                    <a:pt x="2773" y="6270"/>
                  </a:lnTo>
                  <a:lnTo>
                    <a:pt x="3466" y="6270"/>
                  </a:lnTo>
                  <a:lnTo>
                    <a:pt x="3466" y="5829"/>
                  </a:lnTo>
                  <a:cubicBezTo>
                    <a:pt x="3466" y="5672"/>
                    <a:pt x="3560" y="5546"/>
                    <a:pt x="3718" y="5514"/>
                  </a:cubicBezTo>
                  <a:cubicBezTo>
                    <a:pt x="3938" y="5483"/>
                    <a:pt x="4159" y="5357"/>
                    <a:pt x="4348" y="5231"/>
                  </a:cubicBezTo>
                  <a:cubicBezTo>
                    <a:pt x="4393" y="5208"/>
                    <a:pt x="4445" y="5198"/>
                    <a:pt x="4500" y="5198"/>
                  </a:cubicBezTo>
                  <a:cubicBezTo>
                    <a:pt x="4600" y="5198"/>
                    <a:pt x="4708" y="5233"/>
                    <a:pt x="4789" y="5294"/>
                  </a:cubicBezTo>
                  <a:lnTo>
                    <a:pt x="5104" y="5609"/>
                  </a:lnTo>
                  <a:lnTo>
                    <a:pt x="5577" y="5136"/>
                  </a:lnTo>
                  <a:lnTo>
                    <a:pt x="5262" y="4821"/>
                  </a:lnTo>
                  <a:cubicBezTo>
                    <a:pt x="5136" y="4695"/>
                    <a:pt x="5136" y="4538"/>
                    <a:pt x="5230" y="4380"/>
                  </a:cubicBezTo>
                  <a:cubicBezTo>
                    <a:pt x="5356" y="4191"/>
                    <a:pt x="5419" y="3971"/>
                    <a:pt x="5514" y="3750"/>
                  </a:cubicBezTo>
                  <a:cubicBezTo>
                    <a:pt x="5545" y="3593"/>
                    <a:pt x="5671" y="3466"/>
                    <a:pt x="5829" y="3466"/>
                  </a:cubicBezTo>
                  <a:lnTo>
                    <a:pt x="6238" y="3466"/>
                  </a:lnTo>
                  <a:lnTo>
                    <a:pt x="6238" y="2805"/>
                  </a:lnTo>
                  <a:lnTo>
                    <a:pt x="5829" y="2805"/>
                  </a:lnTo>
                  <a:cubicBezTo>
                    <a:pt x="5671" y="2805"/>
                    <a:pt x="5545" y="2679"/>
                    <a:pt x="5514" y="2521"/>
                  </a:cubicBezTo>
                  <a:cubicBezTo>
                    <a:pt x="5451" y="2332"/>
                    <a:pt x="5356" y="2080"/>
                    <a:pt x="5230" y="1891"/>
                  </a:cubicBezTo>
                  <a:cubicBezTo>
                    <a:pt x="5136" y="1765"/>
                    <a:pt x="5199" y="1576"/>
                    <a:pt x="5262" y="1450"/>
                  </a:cubicBezTo>
                  <a:lnTo>
                    <a:pt x="5577" y="1135"/>
                  </a:lnTo>
                  <a:lnTo>
                    <a:pt x="5104" y="663"/>
                  </a:lnTo>
                  <a:lnTo>
                    <a:pt x="4789" y="978"/>
                  </a:lnTo>
                  <a:cubicBezTo>
                    <a:pt x="4715" y="1051"/>
                    <a:pt x="4641" y="1082"/>
                    <a:pt x="4555" y="1082"/>
                  </a:cubicBezTo>
                  <a:cubicBezTo>
                    <a:pt x="4494" y="1082"/>
                    <a:pt x="4426" y="1067"/>
                    <a:pt x="4348" y="1041"/>
                  </a:cubicBezTo>
                  <a:cubicBezTo>
                    <a:pt x="4159" y="915"/>
                    <a:pt x="3970" y="820"/>
                    <a:pt x="3718" y="757"/>
                  </a:cubicBezTo>
                  <a:cubicBezTo>
                    <a:pt x="3560" y="726"/>
                    <a:pt x="3466" y="600"/>
                    <a:pt x="3466" y="442"/>
                  </a:cubicBezTo>
                  <a:lnTo>
                    <a:pt x="3466"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
        <p:nvSpPr>
          <p:cNvPr id="265" name="Google Shape;1645;p43">
            <a:extLst>
              <a:ext uri="{FF2B5EF4-FFF2-40B4-BE49-F238E27FC236}">
                <a16:creationId xmlns:a16="http://schemas.microsoft.com/office/drawing/2014/main" id="{4F8DF549-984E-4A28-8BCB-F59F6147F6B5}"/>
              </a:ext>
            </a:extLst>
          </p:cNvPr>
          <p:cNvSpPr txBox="1"/>
          <p:nvPr/>
        </p:nvSpPr>
        <p:spPr>
          <a:xfrm>
            <a:off x="7483124" y="3356665"/>
            <a:ext cx="4409375" cy="941120"/>
          </a:xfrm>
          <a:prstGeom prst="rect">
            <a:avLst/>
          </a:prstGeom>
          <a:noFill/>
          <a:ln>
            <a:noFill/>
          </a:ln>
        </p:spPr>
        <p:txBody>
          <a:bodyPr spcFirstLastPara="1" wrap="square" lIns="121900" tIns="121900" rIns="121900" bIns="121900" anchor="ctr" anchorCtr="0">
            <a:noAutofit/>
          </a:bodyPr>
          <a:lstStyle/>
          <a:p>
            <a:pPr algn="just" defTabSz="1219170">
              <a:buClr>
                <a:srgbClr val="000000"/>
              </a:buClr>
            </a:pPr>
            <a:r>
              <a:rPr lang="en-US" b="1" kern="0" dirty="0">
                <a:solidFill>
                  <a:srgbClr val="3686C2"/>
                </a:solidFill>
                <a:latin typeface="Times New Roman" panose="02020603050405020304" pitchFamily="18" charset="0"/>
                <a:cs typeface="Times New Roman" panose="02020603050405020304" pitchFamily="18" charset="0"/>
                <a:sym typeface="Roboto"/>
              </a:rPr>
              <a:t>2. </a:t>
            </a:r>
            <a:r>
              <a:rPr lang="en-US" b="1" kern="0" dirty="0" err="1">
                <a:solidFill>
                  <a:srgbClr val="3686C2"/>
                </a:solidFill>
                <a:latin typeface="Times New Roman" panose="02020603050405020304" pitchFamily="18" charset="0"/>
                <a:cs typeface="Times New Roman" panose="02020603050405020304" pitchFamily="18" charset="0"/>
                <a:sym typeface="Roboto"/>
              </a:rPr>
              <a:t>Đảm</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bảo</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i</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tỷ</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lệ</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cán</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bộ</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nữ</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quản</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lý</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được</a:t>
            </a:r>
            <a:r>
              <a:rPr lang="en-US" b="1" kern="0" dirty="0">
                <a:solidFill>
                  <a:srgbClr val="3686C2"/>
                </a:solidFill>
                <a:latin typeface="Times New Roman" panose="02020603050405020304" pitchFamily="18" charset="0"/>
                <a:cs typeface="Times New Roman" panose="02020603050405020304" pitchFamily="18" charset="0"/>
                <a:sym typeface="Roboto"/>
              </a:rPr>
              <a:t> 15%; </a:t>
            </a:r>
            <a:r>
              <a:rPr lang="en-US" b="1" kern="0" dirty="0" err="1">
                <a:solidFill>
                  <a:srgbClr val="3686C2"/>
                </a:solidFill>
                <a:latin typeface="Times New Roman" panose="02020603050405020304" pitchFamily="18" charset="0"/>
                <a:cs typeface="Times New Roman" panose="02020603050405020304" pitchFamily="18" charset="0"/>
                <a:sym typeface="Roboto"/>
              </a:rPr>
              <a:t>tỷ</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lệ</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cán</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bộ</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nữ</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quy</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hoạch</a:t>
            </a:r>
            <a:r>
              <a:rPr lang="en-US" b="1" kern="0" dirty="0">
                <a:solidFill>
                  <a:srgbClr val="3686C2"/>
                </a:solidFill>
                <a:latin typeface="Times New Roman" panose="02020603050405020304" pitchFamily="18" charset="0"/>
                <a:cs typeface="Times New Roman" panose="02020603050405020304" pitchFamily="18" charset="0"/>
                <a:sym typeface="Roboto"/>
              </a:rPr>
              <a:t> </a:t>
            </a:r>
            <a:r>
              <a:rPr lang="en-US" b="1" kern="0" dirty="0" err="1">
                <a:solidFill>
                  <a:srgbClr val="3686C2"/>
                </a:solidFill>
                <a:latin typeface="Times New Roman" panose="02020603050405020304" pitchFamily="18" charset="0"/>
                <a:cs typeface="Times New Roman" panose="02020603050405020304" pitchFamily="18" charset="0"/>
                <a:sym typeface="Roboto"/>
              </a:rPr>
              <a:t>đạt</a:t>
            </a:r>
            <a:r>
              <a:rPr lang="en-US" b="1" kern="0" dirty="0">
                <a:solidFill>
                  <a:srgbClr val="3686C2"/>
                </a:solidFill>
                <a:latin typeface="Times New Roman" panose="02020603050405020304" pitchFamily="18" charset="0"/>
                <a:cs typeface="Times New Roman" panose="02020603050405020304" pitchFamily="18" charset="0"/>
                <a:sym typeface="Roboto"/>
              </a:rPr>
              <a:t> 20%.</a:t>
            </a:r>
          </a:p>
        </p:txBody>
      </p:sp>
      <p:grpSp>
        <p:nvGrpSpPr>
          <p:cNvPr id="267" name="Google Shape;1647;p43">
            <a:extLst>
              <a:ext uri="{FF2B5EF4-FFF2-40B4-BE49-F238E27FC236}">
                <a16:creationId xmlns:a16="http://schemas.microsoft.com/office/drawing/2014/main" id="{85522AB8-2956-4C53-AF26-1FFE32C3F36C}"/>
              </a:ext>
            </a:extLst>
          </p:cNvPr>
          <p:cNvGrpSpPr/>
          <p:nvPr/>
        </p:nvGrpSpPr>
        <p:grpSpPr>
          <a:xfrm>
            <a:off x="6843487" y="3145442"/>
            <a:ext cx="377096" cy="372084"/>
            <a:chOff x="-1951475" y="3597450"/>
            <a:chExt cx="295375" cy="291450"/>
          </a:xfrm>
        </p:grpSpPr>
        <p:sp>
          <p:nvSpPr>
            <p:cNvPr id="268" name="Google Shape;1648;p43">
              <a:extLst>
                <a:ext uri="{FF2B5EF4-FFF2-40B4-BE49-F238E27FC236}">
                  <a16:creationId xmlns:a16="http://schemas.microsoft.com/office/drawing/2014/main" id="{C1282DB0-4426-480C-BEC9-00ECEA7710F9}"/>
                </a:ext>
              </a:extLst>
            </p:cNvPr>
            <p:cNvSpPr/>
            <p:nvPr/>
          </p:nvSpPr>
          <p:spPr>
            <a:xfrm>
              <a:off x="-1951475" y="3597450"/>
              <a:ext cx="170925" cy="34675"/>
            </a:xfrm>
            <a:custGeom>
              <a:avLst/>
              <a:gdLst/>
              <a:ahLst/>
              <a:cxnLst/>
              <a:rect l="l" t="t" r="r" b="b"/>
              <a:pathLst>
                <a:path w="6837" h="1387" extrusionOk="0">
                  <a:moveTo>
                    <a:pt x="1008" y="1"/>
                  </a:moveTo>
                  <a:cubicBezTo>
                    <a:pt x="473" y="1"/>
                    <a:pt x="0" y="473"/>
                    <a:pt x="0" y="1040"/>
                  </a:cubicBezTo>
                  <a:lnTo>
                    <a:pt x="0" y="1387"/>
                  </a:lnTo>
                  <a:lnTo>
                    <a:pt x="6837" y="1387"/>
                  </a:lnTo>
                  <a:lnTo>
                    <a:pt x="6837" y="1040"/>
                  </a:lnTo>
                  <a:cubicBezTo>
                    <a:pt x="6837" y="473"/>
                    <a:pt x="6364" y="1"/>
                    <a:pt x="582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69" name="Google Shape;1649;p43">
              <a:extLst>
                <a:ext uri="{FF2B5EF4-FFF2-40B4-BE49-F238E27FC236}">
                  <a16:creationId xmlns:a16="http://schemas.microsoft.com/office/drawing/2014/main" id="{9634201D-A20F-40A2-BF8A-545694C496DC}"/>
                </a:ext>
              </a:extLst>
            </p:cNvPr>
            <p:cNvSpPr/>
            <p:nvPr/>
          </p:nvSpPr>
          <p:spPr>
            <a:xfrm>
              <a:off x="-1949900" y="3648650"/>
              <a:ext cx="171725" cy="173300"/>
            </a:xfrm>
            <a:custGeom>
              <a:avLst/>
              <a:gdLst/>
              <a:ahLst/>
              <a:cxnLst/>
              <a:rect l="l" t="t" r="r" b="b"/>
              <a:pathLst>
                <a:path w="6869" h="6932" extrusionOk="0">
                  <a:moveTo>
                    <a:pt x="0" y="1"/>
                  </a:moveTo>
                  <a:lnTo>
                    <a:pt x="0" y="6932"/>
                  </a:lnTo>
                  <a:lnTo>
                    <a:pt x="2426" y="6932"/>
                  </a:lnTo>
                  <a:cubicBezTo>
                    <a:pt x="2521" y="6585"/>
                    <a:pt x="2836" y="6333"/>
                    <a:pt x="3245" y="6270"/>
                  </a:cubicBezTo>
                  <a:lnTo>
                    <a:pt x="1166" y="4191"/>
                  </a:lnTo>
                  <a:cubicBezTo>
                    <a:pt x="693" y="3718"/>
                    <a:pt x="693" y="2962"/>
                    <a:pt x="1166" y="2489"/>
                  </a:cubicBezTo>
                  <a:cubicBezTo>
                    <a:pt x="1386" y="2237"/>
                    <a:pt x="1670" y="2143"/>
                    <a:pt x="2017" y="2143"/>
                  </a:cubicBezTo>
                  <a:cubicBezTo>
                    <a:pt x="2363" y="2143"/>
                    <a:pt x="2647" y="2237"/>
                    <a:pt x="2899" y="2489"/>
                  </a:cubicBezTo>
                  <a:lnTo>
                    <a:pt x="3560" y="3151"/>
                  </a:lnTo>
                  <a:cubicBezTo>
                    <a:pt x="3592" y="2994"/>
                    <a:pt x="3718" y="2836"/>
                    <a:pt x="3844" y="2710"/>
                  </a:cubicBezTo>
                  <a:cubicBezTo>
                    <a:pt x="4064" y="2489"/>
                    <a:pt x="4348" y="2363"/>
                    <a:pt x="4694" y="2363"/>
                  </a:cubicBezTo>
                  <a:cubicBezTo>
                    <a:pt x="4694" y="2048"/>
                    <a:pt x="4820" y="1733"/>
                    <a:pt x="5041" y="1513"/>
                  </a:cubicBezTo>
                  <a:cubicBezTo>
                    <a:pt x="5293" y="1261"/>
                    <a:pt x="5577" y="1135"/>
                    <a:pt x="5923" y="1135"/>
                  </a:cubicBezTo>
                  <a:cubicBezTo>
                    <a:pt x="6112" y="1135"/>
                    <a:pt x="6301" y="1198"/>
                    <a:pt x="6459" y="1261"/>
                  </a:cubicBezTo>
                  <a:cubicBezTo>
                    <a:pt x="6522" y="1072"/>
                    <a:pt x="6616" y="914"/>
                    <a:pt x="6774" y="757"/>
                  </a:cubicBezTo>
                  <a:lnTo>
                    <a:pt x="6868" y="662"/>
                  </a:lnTo>
                  <a:lnTo>
                    <a:pt x="6868"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70" name="Google Shape;1650;p43">
              <a:extLst>
                <a:ext uri="{FF2B5EF4-FFF2-40B4-BE49-F238E27FC236}">
                  <a16:creationId xmlns:a16="http://schemas.microsoft.com/office/drawing/2014/main" id="{A73D88BE-896F-4DE2-BDD5-22A4E37264CF}"/>
                </a:ext>
              </a:extLst>
            </p:cNvPr>
            <p:cNvSpPr/>
            <p:nvPr/>
          </p:nvSpPr>
          <p:spPr>
            <a:xfrm>
              <a:off x="-1951475" y="3838475"/>
              <a:ext cx="170925" cy="50425"/>
            </a:xfrm>
            <a:custGeom>
              <a:avLst/>
              <a:gdLst/>
              <a:ahLst/>
              <a:cxnLst/>
              <a:rect l="l" t="t" r="r" b="b"/>
              <a:pathLst>
                <a:path w="6837" h="2017" extrusionOk="0">
                  <a:moveTo>
                    <a:pt x="0" y="0"/>
                  </a:moveTo>
                  <a:lnTo>
                    <a:pt x="0" y="1008"/>
                  </a:lnTo>
                  <a:cubicBezTo>
                    <a:pt x="0" y="1544"/>
                    <a:pt x="473" y="2017"/>
                    <a:pt x="1008" y="2017"/>
                  </a:cubicBezTo>
                  <a:lnTo>
                    <a:pt x="5829" y="2017"/>
                  </a:lnTo>
                  <a:cubicBezTo>
                    <a:pt x="6333" y="2017"/>
                    <a:pt x="6774" y="1670"/>
                    <a:pt x="6837" y="1166"/>
                  </a:cubicBezTo>
                  <a:lnTo>
                    <a:pt x="6679" y="1071"/>
                  </a:lnTo>
                  <a:lnTo>
                    <a:pt x="3466" y="1071"/>
                  </a:lnTo>
                  <a:cubicBezTo>
                    <a:pt x="2867" y="1071"/>
                    <a:pt x="2363" y="599"/>
                    <a:pt x="226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71" name="Google Shape;1651;p43">
              <a:extLst>
                <a:ext uri="{FF2B5EF4-FFF2-40B4-BE49-F238E27FC236}">
                  <a16:creationId xmlns:a16="http://schemas.microsoft.com/office/drawing/2014/main" id="{AEED3096-A9F9-46A7-9982-522377064023}"/>
                </a:ext>
              </a:extLst>
            </p:cNvPr>
            <p:cNvSpPr/>
            <p:nvPr/>
          </p:nvSpPr>
          <p:spPr>
            <a:xfrm>
              <a:off x="-1912900" y="3675825"/>
              <a:ext cx="256800" cy="202825"/>
            </a:xfrm>
            <a:custGeom>
              <a:avLst/>
              <a:gdLst/>
              <a:ahLst/>
              <a:cxnLst/>
              <a:rect l="l" t="t" r="r" b="b"/>
              <a:pathLst>
                <a:path w="10272" h="8113" extrusionOk="0">
                  <a:moveTo>
                    <a:pt x="6085" y="0"/>
                  </a:moveTo>
                  <a:cubicBezTo>
                    <a:pt x="5955" y="0"/>
                    <a:pt x="5829" y="48"/>
                    <a:pt x="5735" y="142"/>
                  </a:cubicBezTo>
                  <a:cubicBezTo>
                    <a:pt x="5546" y="331"/>
                    <a:pt x="5546" y="646"/>
                    <a:pt x="5735" y="835"/>
                  </a:cubicBezTo>
                  <a:lnTo>
                    <a:pt x="6081" y="1213"/>
                  </a:lnTo>
                  <a:cubicBezTo>
                    <a:pt x="6207" y="1308"/>
                    <a:pt x="6207" y="1560"/>
                    <a:pt x="6081" y="1655"/>
                  </a:cubicBezTo>
                  <a:cubicBezTo>
                    <a:pt x="6034" y="1718"/>
                    <a:pt x="5948" y="1749"/>
                    <a:pt x="5857" y="1749"/>
                  </a:cubicBezTo>
                  <a:cubicBezTo>
                    <a:pt x="5766" y="1749"/>
                    <a:pt x="5672" y="1718"/>
                    <a:pt x="5609" y="1655"/>
                  </a:cubicBezTo>
                  <a:lnTo>
                    <a:pt x="4758" y="804"/>
                  </a:lnTo>
                  <a:cubicBezTo>
                    <a:pt x="4664" y="709"/>
                    <a:pt x="4538" y="662"/>
                    <a:pt x="4408" y="662"/>
                  </a:cubicBezTo>
                  <a:cubicBezTo>
                    <a:pt x="4278" y="662"/>
                    <a:pt x="4144" y="709"/>
                    <a:pt x="4034" y="804"/>
                  </a:cubicBezTo>
                  <a:cubicBezTo>
                    <a:pt x="3845" y="993"/>
                    <a:pt x="3845" y="1308"/>
                    <a:pt x="4034" y="1528"/>
                  </a:cubicBezTo>
                  <a:cubicBezTo>
                    <a:pt x="4034" y="1655"/>
                    <a:pt x="4884" y="2505"/>
                    <a:pt x="4821" y="2505"/>
                  </a:cubicBezTo>
                  <a:cubicBezTo>
                    <a:pt x="4947" y="2631"/>
                    <a:pt x="4947" y="2852"/>
                    <a:pt x="4821" y="2978"/>
                  </a:cubicBezTo>
                  <a:cubicBezTo>
                    <a:pt x="4774" y="3041"/>
                    <a:pt x="4687" y="3072"/>
                    <a:pt x="4601" y="3072"/>
                  </a:cubicBezTo>
                  <a:cubicBezTo>
                    <a:pt x="4514" y="3072"/>
                    <a:pt x="4427" y="3041"/>
                    <a:pt x="4380" y="2978"/>
                  </a:cubicBezTo>
                  <a:lnTo>
                    <a:pt x="3498" y="2096"/>
                  </a:lnTo>
                  <a:cubicBezTo>
                    <a:pt x="3403" y="2001"/>
                    <a:pt x="3277" y="1954"/>
                    <a:pt x="3151" y="1954"/>
                  </a:cubicBezTo>
                  <a:cubicBezTo>
                    <a:pt x="3025" y="1954"/>
                    <a:pt x="2899" y="2001"/>
                    <a:pt x="2805" y="2096"/>
                  </a:cubicBezTo>
                  <a:cubicBezTo>
                    <a:pt x="2584" y="2316"/>
                    <a:pt x="2584" y="2631"/>
                    <a:pt x="2805" y="2820"/>
                  </a:cubicBezTo>
                  <a:lnTo>
                    <a:pt x="3656" y="3671"/>
                  </a:lnTo>
                  <a:cubicBezTo>
                    <a:pt x="3782" y="3797"/>
                    <a:pt x="3782" y="4017"/>
                    <a:pt x="3656" y="4143"/>
                  </a:cubicBezTo>
                  <a:cubicBezTo>
                    <a:pt x="3593" y="4206"/>
                    <a:pt x="3506" y="4238"/>
                    <a:pt x="3419" y="4238"/>
                  </a:cubicBezTo>
                  <a:cubicBezTo>
                    <a:pt x="3333" y="4238"/>
                    <a:pt x="3246" y="4206"/>
                    <a:pt x="3183" y="4143"/>
                  </a:cubicBezTo>
                  <a:lnTo>
                    <a:pt x="883" y="1875"/>
                  </a:lnTo>
                  <a:cubicBezTo>
                    <a:pt x="789" y="1765"/>
                    <a:pt x="663" y="1710"/>
                    <a:pt x="537" y="1710"/>
                  </a:cubicBezTo>
                  <a:cubicBezTo>
                    <a:pt x="411" y="1710"/>
                    <a:pt x="284" y="1765"/>
                    <a:pt x="190" y="1875"/>
                  </a:cubicBezTo>
                  <a:cubicBezTo>
                    <a:pt x="1" y="2064"/>
                    <a:pt x="1" y="2379"/>
                    <a:pt x="190" y="2568"/>
                  </a:cubicBezTo>
                  <a:lnTo>
                    <a:pt x="1797" y="4206"/>
                  </a:lnTo>
                  <a:lnTo>
                    <a:pt x="3403" y="5845"/>
                  </a:lnTo>
                  <a:lnTo>
                    <a:pt x="1954" y="5845"/>
                  </a:lnTo>
                  <a:cubicBezTo>
                    <a:pt x="1671" y="5845"/>
                    <a:pt x="1450" y="6097"/>
                    <a:pt x="1450" y="6349"/>
                  </a:cubicBezTo>
                  <a:cubicBezTo>
                    <a:pt x="1450" y="6632"/>
                    <a:pt x="1671" y="6884"/>
                    <a:pt x="1954" y="6884"/>
                  </a:cubicBezTo>
                  <a:lnTo>
                    <a:pt x="5451" y="6884"/>
                  </a:lnTo>
                  <a:cubicBezTo>
                    <a:pt x="5514" y="6916"/>
                    <a:pt x="6491" y="7829"/>
                    <a:pt x="6491" y="7829"/>
                  </a:cubicBezTo>
                  <a:cubicBezTo>
                    <a:pt x="6680" y="8018"/>
                    <a:pt x="6948" y="8113"/>
                    <a:pt x="7216" y="8113"/>
                  </a:cubicBezTo>
                  <a:cubicBezTo>
                    <a:pt x="7483" y="8113"/>
                    <a:pt x="7751" y="8018"/>
                    <a:pt x="7940" y="7829"/>
                  </a:cubicBezTo>
                  <a:lnTo>
                    <a:pt x="9862" y="5876"/>
                  </a:lnTo>
                  <a:cubicBezTo>
                    <a:pt x="10272" y="5498"/>
                    <a:pt x="10272" y="4836"/>
                    <a:pt x="9862" y="4427"/>
                  </a:cubicBezTo>
                  <a:lnTo>
                    <a:pt x="9452" y="3986"/>
                  </a:lnTo>
                  <a:cubicBezTo>
                    <a:pt x="9326" y="3608"/>
                    <a:pt x="9043" y="3198"/>
                    <a:pt x="8822" y="2820"/>
                  </a:cubicBezTo>
                  <a:cubicBezTo>
                    <a:pt x="8570" y="2411"/>
                    <a:pt x="8350" y="2064"/>
                    <a:pt x="8035" y="1718"/>
                  </a:cubicBezTo>
                  <a:lnTo>
                    <a:pt x="6459" y="142"/>
                  </a:lnTo>
                  <a:cubicBezTo>
                    <a:pt x="6349" y="48"/>
                    <a:pt x="6215" y="0"/>
                    <a:pt x="608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20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spTree>
    <p:extLst>
      <p:ext uri="{BB962C8B-B14F-4D97-AF65-F5344CB8AC3E}">
        <p14:creationId xmlns:p14="http://schemas.microsoft.com/office/powerpoint/2010/main" val="18345447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2" descr="D:\backup07102013\o dia D\O D xin\logo EVN.jpg">
            <a:extLst>
              <a:ext uri="{FF2B5EF4-FFF2-40B4-BE49-F238E27FC236}">
                <a16:creationId xmlns:a16="http://schemas.microsoft.com/office/drawing/2014/main" id="{8BC9A1E6-5BC7-4D7D-9097-7445684A33F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5" name="Group 44">
            <a:extLst>
              <a:ext uri="{FF2B5EF4-FFF2-40B4-BE49-F238E27FC236}">
                <a16:creationId xmlns:a16="http://schemas.microsoft.com/office/drawing/2014/main" id="{FA7DF8E5-0D20-411D-8AF7-44858E1A2EF5}"/>
              </a:ext>
            </a:extLst>
          </p:cNvPr>
          <p:cNvGrpSpPr/>
          <p:nvPr/>
        </p:nvGrpSpPr>
        <p:grpSpPr>
          <a:xfrm>
            <a:off x="5422633" y="976972"/>
            <a:ext cx="1369407" cy="36576"/>
            <a:chOff x="1775295" y="2020905"/>
            <a:chExt cx="3631535" cy="45719"/>
          </a:xfrm>
        </p:grpSpPr>
        <p:sp>
          <p:nvSpPr>
            <p:cNvPr id="46" name="Rectangle 45">
              <a:extLst>
                <a:ext uri="{FF2B5EF4-FFF2-40B4-BE49-F238E27FC236}">
                  <a16:creationId xmlns:a16="http://schemas.microsoft.com/office/drawing/2014/main" id="{6A618F1D-27E5-45E6-8C40-B3146C811DD6}"/>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7" name="Rectangle 46">
              <a:extLst>
                <a:ext uri="{FF2B5EF4-FFF2-40B4-BE49-F238E27FC236}">
                  <a16:creationId xmlns:a16="http://schemas.microsoft.com/office/drawing/2014/main" id="{E468156B-6946-4EBA-B428-A40659696A7B}"/>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8" name="Rectangle 47">
              <a:extLst>
                <a:ext uri="{FF2B5EF4-FFF2-40B4-BE49-F238E27FC236}">
                  <a16:creationId xmlns:a16="http://schemas.microsoft.com/office/drawing/2014/main" id="{B66DCB30-F65D-4BF8-AD61-9C3D96A0DAF9}"/>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49" name="Rectangle 48">
              <a:extLst>
                <a:ext uri="{FF2B5EF4-FFF2-40B4-BE49-F238E27FC236}">
                  <a16:creationId xmlns:a16="http://schemas.microsoft.com/office/drawing/2014/main" id="{A23A59AE-DD58-436C-B636-1E247EBAE360}"/>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50" name="Rectangle 49">
              <a:extLst>
                <a:ext uri="{FF2B5EF4-FFF2-40B4-BE49-F238E27FC236}">
                  <a16:creationId xmlns:a16="http://schemas.microsoft.com/office/drawing/2014/main" id="{5D2A78B8-70F8-4936-953E-5CA9D976C757}"/>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sp>
          <p:nvSpPr>
            <p:cNvPr id="51" name="Rectangle 50">
              <a:extLst>
                <a:ext uri="{FF2B5EF4-FFF2-40B4-BE49-F238E27FC236}">
                  <a16:creationId xmlns:a16="http://schemas.microsoft.com/office/drawing/2014/main" id="{892B1253-5B5F-4D53-A4C5-A1773A29EA44}"/>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sz="2000" dirty="0">
                <a:solidFill>
                  <a:prstClr val="white"/>
                </a:solidFill>
                <a:latin typeface="Calibri Light"/>
              </a:endParaRPr>
            </a:p>
          </p:txBody>
        </p:sp>
      </p:grpSp>
      <p:sp>
        <p:nvSpPr>
          <p:cNvPr id="52" name="Rectangle 51">
            <a:extLst>
              <a:ext uri="{FF2B5EF4-FFF2-40B4-BE49-F238E27FC236}">
                <a16:creationId xmlns:a16="http://schemas.microsoft.com/office/drawing/2014/main" id="{41F004CB-B0AF-494E-87EC-1D089073ACB6}"/>
              </a:ext>
            </a:extLst>
          </p:cNvPr>
          <p:cNvSpPr/>
          <p:nvPr/>
        </p:nvSpPr>
        <p:spPr>
          <a:xfrm>
            <a:off x="2" y="383581"/>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PHÁT TRIỂN NHÂN TÀI VÀ KHẢ NĂNG LÃNH ĐẠO</a:t>
            </a:r>
          </a:p>
        </p:txBody>
      </p:sp>
      <p:grpSp>
        <p:nvGrpSpPr>
          <p:cNvPr id="156" name="Google Shape;695;p31">
            <a:extLst>
              <a:ext uri="{FF2B5EF4-FFF2-40B4-BE49-F238E27FC236}">
                <a16:creationId xmlns:a16="http://schemas.microsoft.com/office/drawing/2014/main" id="{396C5990-12FA-4EF1-AA38-F74B79C39D0C}"/>
              </a:ext>
            </a:extLst>
          </p:cNvPr>
          <p:cNvGrpSpPr/>
          <p:nvPr/>
        </p:nvGrpSpPr>
        <p:grpSpPr>
          <a:xfrm>
            <a:off x="604125" y="2198123"/>
            <a:ext cx="5501275" cy="1173069"/>
            <a:chOff x="457200" y="1570571"/>
            <a:chExt cx="4121850" cy="685804"/>
          </a:xfrm>
        </p:grpSpPr>
        <p:grpSp>
          <p:nvGrpSpPr>
            <p:cNvPr id="157" name="Google Shape;696;p31">
              <a:extLst>
                <a:ext uri="{FF2B5EF4-FFF2-40B4-BE49-F238E27FC236}">
                  <a16:creationId xmlns:a16="http://schemas.microsoft.com/office/drawing/2014/main" id="{731CC2F4-E411-45BF-8D1E-3087DC8556A7}"/>
                </a:ext>
              </a:extLst>
            </p:cNvPr>
            <p:cNvGrpSpPr/>
            <p:nvPr/>
          </p:nvGrpSpPr>
          <p:grpSpPr>
            <a:xfrm>
              <a:off x="457200" y="1570575"/>
              <a:ext cx="4121850" cy="685800"/>
              <a:chOff x="457200" y="1570575"/>
              <a:chExt cx="4121850" cy="685800"/>
            </a:xfrm>
          </p:grpSpPr>
          <p:sp>
            <p:nvSpPr>
              <p:cNvPr id="161" name="Google Shape;697;p31">
                <a:extLst>
                  <a:ext uri="{FF2B5EF4-FFF2-40B4-BE49-F238E27FC236}">
                    <a16:creationId xmlns:a16="http://schemas.microsoft.com/office/drawing/2014/main" id="{A13D03B9-EC7D-4810-B1A4-D672D5E24530}"/>
                  </a:ext>
                </a:extLst>
              </p:cNvPr>
              <p:cNvSpPr/>
              <p:nvPr/>
            </p:nvSpPr>
            <p:spPr>
              <a:xfrm rot="-5400000" flipH="1">
                <a:off x="2291700" y="-30975"/>
                <a:ext cx="685800" cy="3888900"/>
              </a:xfrm>
              <a:prstGeom prst="round2SameRect">
                <a:avLst>
                  <a:gd name="adj1" fmla="val 26957"/>
                  <a:gd name="adj2" fmla="val 0"/>
                </a:avLst>
              </a:prstGeom>
              <a:solidFill>
                <a:srgbClr val="FAB847"/>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162" name="Google Shape;698;p31">
                <a:extLst>
                  <a:ext uri="{FF2B5EF4-FFF2-40B4-BE49-F238E27FC236}">
                    <a16:creationId xmlns:a16="http://schemas.microsoft.com/office/drawing/2014/main" id="{9EA25FA4-3AB3-403A-90D9-C1D03E0EAACF}"/>
                  </a:ext>
                </a:extLst>
              </p:cNvPr>
              <p:cNvSpPr/>
              <p:nvPr/>
            </p:nvSpPr>
            <p:spPr>
              <a:xfrm>
                <a:off x="457200" y="1665750"/>
                <a:ext cx="501000" cy="501000"/>
              </a:xfrm>
              <a:prstGeom prst="ellipse">
                <a:avLst/>
              </a:prstGeom>
              <a:solidFill>
                <a:srgbClr val="FAB847"/>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nvGrpSpPr>
              <p:cNvPr id="163" name="Google Shape;699;p31">
                <a:extLst>
                  <a:ext uri="{FF2B5EF4-FFF2-40B4-BE49-F238E27FC236}">
                    <a16:creationId xmlns:a16="http://schemas.microsoft.com/office/drawing/2014/main" id="{F84D7CDA-E71B-4B7E-84D0-C2DCD122CE01}"/>
                  </a:ext>
                </a:extLst>
              </p:cNvPr>
              <p:cNvGrpSpPr/>
              <p:nvPr/>
            </p:nvGrpSpPr>
            <p:grpSpPr>
              <a:xfrm>
                <a:off x="552987" y="1754420"/>
                <a:ext cx="309428" cy="309380"/>
                <a:chOff x="2685825" y="840375"/>
                <a:chExt cx="481900" cy="481825"/>
              </a:xfrm>
            </p:grpSpPr>
            <p:sp>
              <p:nvSpPr>
                <p:cNvPr id="164" name="Google Shape;700;p31">
                  <a:extLst>
                    <a:ext uri="{FF2B5EF4-FFF2-40B4-BE49-F238E27FC236}">
                      <a16:creationId xmlns:a16="http://schemas.microsoft.com/office/drawing/2014/main" id="{43EA4049-AA1F-4B7A-9CA3-D82AED70046E}"/>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65" name="Google Shape;701;p31">
                  <a:extLst>
                    <a:ext uri="{FF2B5EF4-FFF2-40B4-BE49-F238E27FC236}">
                      <a16:creationId xmlns:a16="http://schemas.microsoft.com/office/drawing/2014/main" id="{DC15302A-34B8-4148-B3E9-AB9E559CBE19}"/>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grpSp>
        <p:sp>
          <p:nvSpPr>
            <p:cNvPr id="160" name="Google Shape;704;p31">
              <a:extLst>
                <a:ext uri="{FF2B5EF4-FFF2-40B4-BE49-F238E27FC236}">
                  <a16:creationId xmlns:a16="http://schemas.microsoft.com/office/drawing/2014/main" id="{C5361AA0-6104-4C57-BCFF-8B87F707F334}"/>
                </a:ext>
              </a:extLst>
            </p:cNvPr>
            <p:cNvSpPr txBox="1"/>
            <p:nvPr/>
          </p:nvSpPr>
          <p:spPr>
            <a:xfrm>
              <a:off x="1110601" y="1570571"/>
              <a:ext cx="3226800" cy="685797"/>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Quả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ý</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ữ</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chiếm</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13%,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khô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t</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mụ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iêu</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14,5%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ro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ăm</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2020.</a:t>
              </a:r>
            </a:p>
          </p:txBody>
        </p:sp>
      </p:grpSp>
      <p:grpSp>
        <p:nvGrpSpPr>
          <p:cNvPr id="166" name="Google Shape;705;p31">
            <a:extLst>
              <a:ext uri="{FF2B5EF4-FFF2-40B4-BE49-F238E27FC236}">
                <a16:creationId xmlns:a16="http://schemas.microsoft.com/office/drawing/2014/main" id="{12F3E5AE-E60C-468B-B8DB-6BB6987B2E74}"/>
              </a:ext>
            </a:extLst>
          </p:cNvPr>
          <p:cNvGrpSpPr/>
          <p:nvPr/>
        </p:nvGrpSpPr>
        <p:grpSpPr>
          <a:xfrm>
            <a:off x="6090525" y="2198121"/>
            <a:ext cx="5501275" cy="1173070"/>
            <a:chOff x="4572000" y="1570570"/>
            <a:chExt cx="4121850" cy="685805"/>
          </a:xfrm>
        </p:grpSpPr>
        <p:grpSp>
          <p:nvGrpSpPr>
            <p:cNvPr id="167" name="Google Shape;706;p31">
              <a:extLst>
                <a:ext uri="{FF2B5EF4-FFF2-40B4-BE49-F238E27FC236}">
                  <a16:creationId xmlns:a16="http://schemas.microsoft.com/office/drawing/2014/main" id="{994488CC-CB8D-4FEE-A296-297F8DC4BD0D}"/>
                </a:ext>
              </a:extLst>
            </p:cNvPr>
            <p:cNvGrpSpPr/>
            <p:nvPr/>
          </p:nvGrpSpPr>
          <p:grpSpPr>
            <a:xfrm>
              <a:off x="4572000" y="1570575"/>
              <a:ext cx="4121850" cy="685800"/>
              <a:chOff x="4572000" y="1570575"/>
              <a:chExt cx="4121850" cy="685800"/>
            </a:xfrm>
          </p:grpSpPr>
          <p:sp>
            <p:nvSpPr>
              <p:cNvPr id="171" name="Google Shape;707;p31">
                <a:extLst>
                  <a:ext uri="{FF2B5EF4-FFF2-40B4-BE49-F238E27FC236}">
                    <a16:creationId xmlns:a16="http://schemas.microsoft.com/office/drawing/2014/main" id="{B83B4E50-0559-45F2-8464-E684E86FD6B0}"/>
                  </a:ext>
                </a:extLst>
              </p:cNvPr>
              <p:cNvSpPr/>
              <p:nvPr/>
            </p:nvSpPr>
            <p:spPr>
              <a:xfrm rot="5400000">
                <a:off x="6173550" y="-30975"/>
                <a:ext cx="685800" cy="3888900"/>
              </a:xfrm>
              <a:prstGeom prst="round2SameRect">
                <a:avLst>
                  <a:gd name="adj1" fmla="val 26957"/>
                  <a:gd name="adj2" fmla="val 0"/>
                </a:avLst>
              </a:prstGeom>
              <a:solidFill>
                <a:srgbClr val="58B9D2"/>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172" name="Google Shape;708;p31">
                <a:extLst>
                  <a:ext uri="{FF2B5EF4-FFF2-40B4-BE49-F238E27FC236}">
                    <a16:creationId xmlns:a16="http://schemas.microsoft.com/office/drawing/2014/main" id="{53370689-4826-47E8-9414-CFB89B493190}"/>
                  </a:ext>
                </a:extLst>
              </p:cNvPr>
              <p:cNvSpPr/>
              <p:nvPr/>
            </p:nvSpPr>
            <p:spPr>
              <a:xfrm flipH="1">
                <a:off x="8192850" y="1665750"/>
                <a:ext cx="501000" cy="501000"/>
              </a:xfrm>
              <a:prstGeom prst="ellipse">
                <a:avLst/>
              </a:prstGeom>
              <a:solidFill>
                <a:srgbClr val="58B9D2"/>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nvGrpSpPr>
              <p:cNvPr id="173" name="Google Shape;709;p31">
                <a:extLst>
                  <a:ext uri="{FF2B5EF4-FFF2-40B4-BE49-F238E27FC236}">
                    <a16:creationId xmlns:a16="http://schemas.microsoft.com/office/drawing/2014/main" id="{44864063-0608-4A66-86A9-1113373D35A8}"/>
                  </a:ext>
                </a:extLst>
              </p:cNvPr>
              <p:cNvGrpSpPr/>
              <p:nvPr/>
            </p:nvGrpSpPr>
            <p:grpSpPr>
              <a:xfrm>
                <a:off x="8288665" y="1761269"/>
                <a:ext cx="319573" cy="309958"/>
                <a:chOff x="3270675" y="841800"/>
                <a:chExt cx="497700" cy="482725"/>
              </a:xfrm>
            </p:grpSpPr>
            <p:sp>
              <p:nvSpPr>
                <p:cNvPr id="174" name="Google Shape;710;p31">
                  <a:extLst>
                    <a:ext uri="{FF2B5EF4-FFF2-40B4-BE49-F238E27FC236}">
                      <a16:creationId xmlns:a16="http://schemas.microsoft.com/office/drawing/2014/main" id="{D1E51D95-F8FC-417F-AC11-3D2CEA559E34}"/>
                    </a:ext>
                  </a:extLst>
                </p:cNvPr>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75" name="Google Shape;711;p31">
                  <a:extLst>
                    <a:ext uri="{FF2B5EF4-FFF2-40B4-BE49-F238E27FC236}">
                      <a16:creationId xmlns:a16="http://schemas.microsoft.com/office/drawing/2014/main" id="{710A72DD-6920-4AED-992F-B6EB62093F59}"/>
                    </a:ext>
                  </a:extLst>
                </p:cNvPr>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76" name="Google Shape;712;p31">
                  <a:extLst>
                    <a:ext uri="{FF2B5EF4-FFF2-40B4-BE49-F238E27FC236}">
                      <a16:creationId xmlns:a16="http://schemas.microsoft.com/office/drawing/2014/main" id="{48F03C85-060D-45AE-BC16-B7ED4B7F9760}"/>
                    </a:ext>
                  </a:extLst>
                </p:cNvPr>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grpSp>
        <p:sp>
          <p:nvSpPr>
            <p:cNvPr id="170" name="Google Shape;715;p31">
              <a:extLst>
                <a:ext uri="{FF2B5EF4-FFF2-40B4-BE49-F238E27FC236}">
                  <a16:creationId xmlns:a16="http://schemas.microsoft.com/office/drawing/2014/main" id="{94CA987B-58D4-4F70-BE8D-CF71BD5A9378}"/>
                </a:ext>
              </a:extLst>
            </p:cNvPr>
            <p:cNvSpPr txBox="1"/>
            <p:nvPr/>
          </p:nvSpPr>
          <p:spPr>
            <a:xfrm>
              <a:off x="4813651" y="1570570"/>
              <a:ext cx="3226800" cy="685796"/>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ặt</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hỉ</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iêu</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ụ</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hể</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ề</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quả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ý</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ữ</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gắ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ới</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iệ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á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giá</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hiệu</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quả</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ủa</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ã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á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ấp</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a:t>
              </a:r>
              <a:endPar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endParaRPr>
            </a:p>
          </p:txBody>
        </p:sp>
      </p:grpSp>
      <p:grpSp>
        <p:nvGrpSpPr>
          <p:cNvPr id="177" name="Google Shape;716;p31">
            <a:extLst>
              <a:ext uri="{FF2B5EF4-FFF2-40B4-BE49-F238E27FC236}">
                <a16:creationId xmlns:a16="http://schemas.microsoft.com/office/drawing/2014/main" id="{D041B444-6634-4BBD-A065-65E06B03C41F}"/>
              </a:ext>
            </a:extLst>
          </p:cNvPr>
          <p:cNvGrpSpPr/>
          <p:nvPr/>
        </p:nvGrpSpPr>
        <p:grpSpPr>
          <a:xfrm>
            <a:off x="609600" y="3537140"/>
            <a:ext cx="5495800" cy="1154381"/>
            <a:chOff x="457200" y="2537173"/>
            <a:chExt cx="4121850" cy="685803"/>
          </a:xfrm>
        </p:grpSpPr>
        <p:grpSp>
          <p:nvGrpSpPr>
            <p:cNvPr id="178" name="Google Shape;717;p31">
              <a:extLst>
                <a:ext uri="{FF2B5EF4-FFF2-40B4-BE49-F238E27FC236}">
                  <a16:creationId xmlns:a16="http://schemas.microsoft.com/office/drawing/2014/main" id="{0688342F-A071-481F-805F-E58A793CF726}"/>
                </a:ext>
              </a:extLst>
            </p:cNvPr>
            <p:cNvGrpSpPr/>
            <p:nvPr/>
          </p:nvGrpSpPr>
          <p:grpSpPr>
            <a:xfrm>
              <a:off x="457200" y="2537175"/>
              <a:ext cx="4121850" cy="685800"/>
              <a:chOff x="457200" y="2537175"/>
              <a:chExt cx="4121850" cy="685800"/>
            </a:xfrm>
          </p:grpSpPr>
          <p:sp>
            <p:nvSpPr>
              <p:cNvPr id="182" name="Google Shape;718;p31">
                <a:extLst>
                  <a:ext uri="{FF2B5EF4-FFF2-40B4-BE49-F238E27FC236}">
                    <a16:creationId xmlns:a16="http://schemas.microsoft.com/office/drawing/2014/main" id="{CA0404DD-23C8-4A0C-88D7-A849E488565C}"/>
                  </a:ext>
                </a:extLst>
              </p:cNvPr>
              <p:cNvSpPr/>
              <p:nvPr/>
            </p:nvSpPr>
            <p:spPr>
              <a:xfrm rot="-5400000" flipH="1">
                <a:off x="2291700" y="935625"/>
                <a:ext cx="685800" cy="3888900"/>
              </a:xfrm>
              <a:prstGeom prst="round2SameRect">
                <a:avLst>
                  <a:gd name="adj1" fmla="val 26957"/>
                  <a:gd name="adj2" fmla="val 0"/>
                </a:avLst>
              </a:prstGeom>
              <a:solidFill>
                <a:srgbClr val="F39451"/>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183" name="Google Shape;719;p31">
                <a:extLst>
                  <a:ext uri="{FF2B5EF4-FFF2-40B4-BE49-F238E27FC236}">
                    <a16:creationId xmlns:a16="http://schemas.microsoft.com/office/drawing/2014/main" id="{78D13DB3-F886-4ABE-AB48-80992395AD00}"/>
                  </a:ext>
                </a:extLst>
              </p:cNvPr>
              <p:cNvSpPr/>
              <p:nvPr/>
            </p:nvSpPr>
            <p:spPr>
              <a:xfrm>
                <a:off x="457200" y="2632350"/>
                <a:ext cx="501000" cy="501000"/>
              </a:xfrm>
              <a:prstGeom prst="ellipse">
                <a:avLst/>
              </a:prstGeom>
              <a:solidFill>
                <a:srgbClr val="F39451"/>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nvGrpSpPr>
              <p:cNvPr id="184" name="Google Shape;720;p31">
                <a:extLst>
                  <a:ext uri="{FF2B5EF4-FFF2-40B4-BE49-F238E27FC236}">
                    <a16:creationId xmlns:a16="http://schemas.microsoft.com/office/drawing/2014/main" id="{E600F691-7BA1-4AE1-9B99-2D72E2B52BFA}"/>
                  </a:ext>
                </a:extLst>
              </p:cNvPr>
              <p:cNvGrpSpPr/>
              <p:nvPr/>
            </p:nvGrpSpPr>
            <p:grpSpPr>
              <a:xfrm>
                <a:off x="545578" y="2725367"/>
                <a:ext cx="309332" cy="309396"/>
                <a:chOff x="5049725" y="2027900"/>
                <a:chExt cx="481750" cy="481850"/>
              </a:xfrm>
            </p:grpSpPr>
            <p:sp>
              <p:nvSpPr>
                <p:cNvPr id="185" name="Google Shape;721;p31">
                  <a:extLst>
                    <a:ext uri="{FF2B5EF4-FFF2-40B4-BE49-F238E27FC236}">
                      <a16:creationId xmlns:a16="http://schemas.microsoft.com/office/drawing/2014/main" id="{71ECEA33-2FFF-4D58-B3DB-C6E3A1ED9D33}"/>
                    </a:ext>
                  </a:extLst>
                </p:cNvPr>
                <p:cNvSpPr/>
                <p:nvPr/>
              </p:nvSpPr>
              <p:spPr>
                <a:xfrm>
                  <a:off x="5191775" y="2394925"/>
                  <a:ext cx="197625" cy="114825"/>
                </a:xfrm>
                <a:custGeom>
                  <a:avLst/>
                  <a:gdLst/>
                  <a:ahLst/>
                  <a:cxnLst/>
                  <a:rect l="l" t="t" r="r" b="b"/>
                  <a:pathLst>
                    <a:path w="7905" h="4593" extrusionOk="0">
                      <a:moveTo>
                        <a:pt x="0" y="0"/>
                      </a:moveTo>
                      <a:lnTo>
                        <a:pt x="0" y="566"/>
                      </a:lnTo>
                      <a:cubicBezTo>
                        <a:pt x="3" y="1298"/>
                        <a:pt x="479" y="1949"/>
                        <a:pt x="1178" y="2171"/>
                      </a:cubicBezTo>
                      <a:cubicBezTo>
                        <a:pt x="1407" y="3502"/>
                        <a:pt x="2560" y="4593"/>
                        <a:pt x="3954" y="4593"/>
                      </a:cubicBezTo>
                      <a:cubicBezTo>
                        <a:pt x="5345" y="4593"/>
                        <a:pt x="6499" y="3502"/>
                        <a:pt x="6728" y="2171"/>
                      </a:cubicBezTo>
                      <a:cubicBezTo>
                        <a:pt x="7426" y="1949"/>
                        <a:pt x="7902" y="1298"/>
                        <a:pt x="7905" y="566"/>
                      </a:cubicBezTo>
                      <a:lnTo>
                        <a:pt x="7905" y="0"/>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86" name="Google Shape;722;p31">
                  <a:extLst>
                    <a:ext uri="{FF2B5EF4-FFF2-40B4-BE49-F238E27FC236}">
                      <a16:creationId xmlns:a16="http://schemas.microsoft.com/office/drawing/2014/main" id="{48642EBA-820D-4681-9AA8-031B94D16423}"/>
                    </a:ext>
                  </a:extLst>
                </p:cNvPr>
                <p:cNvSpPr/>
                <p:nvPr/>
              </p:nvSpPr>
              <p:spPr>
                <a:xfrm>
                  <a:off x="5113625" y="2027900"/>
                  <a:ext cx="347300" cy="338825"/>
                </a:xfrm>
                <a:custGeom>
                  <a:avLst/>
                  <a:gdLst/>
                  <a:ahLst/>
                  <a:cxnLst/>
                  <a:rect l="l" t="t" r="r" b="b"/>
                  <a:pathLst>
                    <a:path w="13892" h="13553" extrusionOk="0">
                      <a:moveTo>
                        <a:pt x="7080" y="2260"/>
                      </a:moveTo>
                      <a:cubicBezTo>
                        <a:pt x="9574" y="2263"/>
                        <a:pt x="11594" y="4284"/>
                        <a:pt x="11597" y="6777"/>
                      </a:cubicBezTo>
                      <a:cubicBezTo>
                        <a:pt x="11597" y="7090"/>
                        <a:pt x="11344" y="7340"/>
                        <a:pt x="11031" y="7340"/>
                      </a:cubicBezTo>
                      <a:cubicBezTo>
                        <a:pt x="10718" y="7340"/>
                        <a:pt x="10468" y="7090"/>
                        <a:pt x="10468" y="6777"/>
                      </a:cubicBezTo>
                      <a:cubicBezTo>
                        <a:pt x="10465" y="4907"/>
                        <a:pt x="8950" y="3392"/>
                        <a:pt x="7080" y="3389"/>
                      </a:cubicBezTo>
                      <a:cubicBezTo>
                        <a:pt x="6767" y="3389"/>
                        <a:pt x="6514" y="3136"/>
                        <a:pt x="6514" y="2826"/>
                      </a:cubicBezTo>
                      <a:cubicBezTo>
                        <a:pt x="6514" y="2513"/>
                        <a:pt x="6767" y="2260"/>
                        <a:pt x="7080" y="2260"/>
                      </a:cubicBezTo>
                      <a:close/>
                      <a:moveTo>
                        <a:pt x="7070" y="1"/>
                      </a:moveTo>
                      <a:cubicBezTo>
                        <a:pt x="6595" y="1"/>
                        <a:pt x="6111" y="50"/>
                        <a:pt x="5623" y="152"/>
                      </a:cubicBezTo>
                      <a:cubicBezTo>
                        <a:pt x="3075" y="685"/>
                        <a:pt x="1001" y="2754"/>
                        <a:pt x="459" y="5301"/>
                      </a:cubicBezTo>
                      <a:cubicBezTo>
                        <a:pt x="1" y="7469"/>
                        <a:pt x="567" y="9644"/>
                        <a:pt x="2015" y="11270"/>
                      </a:cubicBezTo>
                      <a:cubicBezTo>
                        <a:pt x="2584" y="11908"/>
                        <a:pt x="2952" y="12703"/>
                        <a:pt x="3072" y="13552"/>
                      </a:cubicBezTo>
                      <a:lnTo>
                        <a:pt x="11088" y="13552"/>
                      </a:lnTo>
                      <a:cubicBezTo>
                        <a:pt x="11221" y="12691"/>
                        <a:pt x="11597" y="11887"/>
                        <a:pt x="12175" y="11233"/>
                      </a:cubicBezTo>
                      <a:cubicBezTo>
                        <a:pt x="13259" y="10002"/>
                        <a:pt x="13892" y="8418"/>
                        <a:pt x="13892" y="6777"/>
                      </a:cubicBezTo>
                      <a:cubicBezTo>
                        <a:pt x="13892" y="2969"/>
                        <a:pt x="10766" y="1"/>
                        <a:pt x="707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87" name="Google Shape;723;p31">
                  <a:extLst>
                    <a:ext uri="{FF2B5EF4-FFF2-40B4-BE49-F238E27FC236}">
                      <a16:creationId xmlns:a16="http://schemas.microsoft.com/office/drawing/2014/main" id="{E554DD8A-F81E-4FAE-BA73-0723AA6E0460}"/>
                    </a:ext>
                  </a:extLst>
                </p:cNvPr>
                <p:cNvSpPr/>
                <p:nvPr/>
              </p:nvSpPr>
              <p:spPr>
                <a:xfrm>
                  <a:off x="5049725" y="2197300"/>
                  <a:ext cx="56400" cy="28275"/>
                </a:xfrm>
                <a:custGeom>
                  <a:avLst/>
                  <a:gdLst/>
                  <a:ahLst/>
                  <a:cxnLst/>
                  <a:rect l="l" t="t" r="r" b="b"/>
                  <a:pathLst>
                    <a:path w="2256" h="1131" extrusionOk="0">
                      <a:moveTo>
                        <a:pt x="563" y="1"/>
                      </a:moveTo>
                      <a:cubicBezTo>
                        <a:pt x="250" y="1"/>
                        <a:pt x="0" y="254"/>
                        <a:pt x="0" y="567"/>
                      </a:cubicBezTo>
                      <a:cubicBezTo>
                        <a:pt x="0" y="877"/>
                        <a:pt x="250" y="1130"/>
                        <a:pt x="563" y="1130"/>
                      </a:cubicBezTo>
                      <a:lnTo>
                        <a:pt x="1693" y="1130"/>
                      </a:lnTo>
                      <a:cubicBezTo>
                        <a:pt x="2006" y="1130"/>
                        <a:pt x="2256" y="877"/>
                        <a:pt x="2256" y="567"/>
                      </a:cubicBezTo>
                      <a:cubicBezTo>
                        <a:pt x="2256" y="254"/>
                        <a:pt x="2006" y="1"/>
                        <a:pt x="169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88" name="Google Shape;724;p31">
                  <a:extLst>
                    <a:ext uri="{FF2B5EF4-FFF2-40B4-BE49-F238E27FC236}">
                      <a16:creationId xmlns:a16="http://schemas.microsoft.com/office/drawing/2014/main" id="{EA5DAABB-506C-4338-B665-89176666AED9}"/>
                    </a:ext>
                  </a:extLst>
                </p:cNvPr>
                <p:cNvSpPr/>
                <p:nvPr/>
              </p:nvSpPr>
              <p:spPr>
                <a:xfrm>
                  <a:off x="5052575" y="2102800"/>
                  <a:ext cx="50850" cy="48075"/>
                </a:xfrm>
                <a:custGeom>
                  <a:avLst/>
                  <a:gdLst/>
                  <a:ahLst/>
                  <a:cxnLst/>
                  <a:rect l="l" t="t" r="r" b="b"/>
                  <a:pathLst>
                    <a:path w="2034" h="1923" extrusionOk="0">
                      <a:moveTo>
                        <a:pt x="623" y="0"/>
                      </a:moveTo>
                      <a:cubicBezTo>
                        <a:pt x="478" y="0"/>
                        <a:pt x="333" y="56"/>
                        <a:pt x="224" y="167"/>
                      </a:cubicBezTo>
                      <a:cubicBezTo>
                        <a:pt x="4" y="384"/>
                        <a:pt x="1" y="736"/>
                        <a:pt x="214" y="959"/>
                      </a:cubicBezTo>
                      <a:lnTo>
                        <a:pt x="1015" y="1757"/>
                      </a:lnTo>
                      <a:cubicBezTo>
                        <a:pt x="1125" y="1867"/>
                        <a:pt x="1269" y="1922"/>
                        <a:pt x="1413" y="1922"/>
                      </a:cubicBezTo>
                      <a:cubicBezTo>
                        <a:pt x="1558" y="1922"/>
                        <a:pt x="1702" y="1867"/>
                        <a:pt x="1813" y="1757"/>
                      </a:cubicBezTo>
                      <a:cubicBezTo>
                        <a:pt x="2033" y="1534"/>
                        <a:pt x="2033" y="1179"/>
                        <a:pt x="1813" y="959"/>
                      </a:cubicBezTo>
                      <a:lnTo>
                        <a:pt x="1015" y="158"/>
                      </a:lnTo>
                      <a:cubicBezTo>
                        <a:pt x="906" y="53"/>
                        <a:pt x="764" y="0"/>
                        <a:pt x="62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89" name="Google Shape;725;p31">
                  <a:extLst>
                    <a:ext uri="{FF2B5EF4-FFF2-40B4-BE49-F238E27FC236}">
                      <a16:creationId xmlns:a16="http://schemas.microsoft.com/office/drawing/2014/main" id="{10442700-1EB9-4D56-9DE7-5A8A39D69394}"/>
                    </a:ext>
                  </a:extLst>
                </p:cNvPr>
                <p:cNvSpPr/>
                <p:nvPr/>
              </p:nvSpPr>
              <p:spPr>
                <a:xfrm>
                  <a:off x="5052575" y="2272175"/>
                  <a:ext cx="50700" cy="47900"/>
                </a:xfrm>
                <a:custGeom>
                  <a:avLst/>
                  <a:gdLst/>
                  <a:ahLst/>
                  <a:cxnLst/>
                  <a:rect l="l" t="t" r="r" b="b"/>
                  <a:pathLst>
                    <a:path w="2028" h="1916" extrusionOk="0">
                      <a:moveTo>
                        <a:pt x="1405" y="0"/>
                      </a:moveTo>
                      <a:cubicBezTo>
                        <a:pt x="1264" y="0"/>
                        <a:pt x="1124" y="53"/>
                        <a:pt x="1015" y="159"/>
                      </a:cubicBezTo>
                      <a:lnTo>
                        <a:pt x="214" y="960"/>
                      </a:lnTo>
                      <a:cubicBezTo>
                        <a:pt x="1" y="1179"/>
                        <a:pt x="4" y="1532"/>
                        <a:pt x="224" y="1749"/>
                      </a:cubicBezTo>
                      <a:cubicBezTo>
                        <a:pt x="333" y="1860"/>
                        <a:pt x="478" y="1916"/>
                        <a:pt x="623" y="1916"/>
                      </a:cubicBezTo>
                      <a:cubicBezTo>
                        <a:pt x="764" y="1916"/>
                        <a:pt x="906" y="1863"/>
                        <a:pt x="1015" y="1758"/>
                      </a:cubicBezTo>
                      <a:lnTo>
                        <a:pt x="1813" y="960"/>
                      </a:lnTo>
                      <a:cubicBezTo>
                        <a:pt x="2027" y="737"/>
                        <a:pt x="2024" y="384"/>
                        <a:pt x="1804" y="168"/>
                      </a:cubicBezTo>
                      <a:cubicBezTo>
                        <a:pt x="1695" y="56"/>
                        <a:pt x="1550" y="0"/>
                        <a:pt x="140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90" name="Google Shape;726;p31">
                  <a:extLst>
                    <a:ext uri="{FF2B5EF4-FFF2-40B4-BE49-F238E27FC236}">
                      <a16:creationId xmlns:a16="http://schemas.microsoft.com/office/drawing/2014/main" id="{3E103B70-1F32-4AB8-ADBC-DB62B77E1796}"/>
                    </a:ext>
                  </a:extLst>
                </p:cNvPr>
                <p:cNvSpPr/>
                <p:nvPr/>
              </p:nvSpPr>
              <p:spPr>
                <a:xfrm>
                  <a:off x="5475050" y="2197300"/>
                  <a:ext cx="56425" cy="28275"/>
                </a:xfrm>
                <a:custGeom>
                  <a:avLst/>
                  <a:gdLst/>
                  <a:ahLst/>
                  <a:cxnLst/>
                  <a:rect l="l" t="t" r="r" b="b"/>
                  <a:pathLst>
                    <a:path w="2257" h="1131" extrusionOk="0">
                      <a:moveTo>
                        <a:pt x="564" y="1"/>
                      </a:moveTo>
                      <a:cubicBezTo>
                        <a:pt x="251" y="1"/>
                        <a:pt x="1" y="254"/>
                        <a:pt x="1" y="567"/>
                      </a:cubicBezTo>
                      <a:cubicBezTo>
                        <a:pt x="1" y="877"/>
                        <a:pt x="251" y="1130"/>
                        <a:pt x="564" y="1130"/>
                      </a:cubicBezTo>
                      <a:lnTo>
                        <a:pt x="1693" y="1130"/>
                      </a:lnTo>
                      <a:cubicBezTo>
                        <a:pt x="2006" y="1130"/>
                        <a:pt x="2256" y="877"/>
                        <a:pt x="2256" y="567"/>
                      </a:cubicBezTo>
                      <a:cubicBezTo>
                        <a:pt x="2256" y="254"/>
                        <a:pt x="2006" y="1"/>
                        <a:pt x="169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91" name="Google Shape;727;p31">
                  <a:extLst>
                    <a:ext uri="{FF2B5EF4-FFF2-40B4-BE49-F238E27FC236}">
                      <a16:creationId xmlns:a16="http://schemas.microsoft.com/office/drawing/2014/main" id="{04828DA6-A16C-4F30-8E5A-D360B6A46E02}"/>
                    </a:ext>
                  </a:extLst>
                </p:cNvPr>
                <p:cNvSpPr/>
                <p:nvPr/>
              </p:nvSpPr>
              <p:spPr>
                <a:xfrm>
                  <a:off x="5477925" y="2102800"/>
                  <a:ext cx="50675" cy="47900"/>
                </a:xfrm>
                <a:custGeom>
                  <a:avLst/>
                  <a:gdLst/>
                  <a:ahLst/>
                  <a:cxnLst/>
                  <a:rect l="l" t="t" r="r" b="b"/>
                  <a:pathLst>
                    <a:path w="2027" h="1916" extrusionOk="0">
                      <a:moveTo>
                        <a:pt x="1405" y="0"/>
                      </a:moveTo>
                      <a:cubicBezTo>
                        <a:pt x="1264" y="0"/>
                        <a:pt x="1123" y="53"/>
                        <a:pt x="1015" y="158"/>
                      </a:cubicBezTo>
                      <a:lnTo>
                        <a:pt x="214" y="959"/>
                      </a:lnTo>
                      <a:cubicBezTo>
                        <a:pt x="0" y="1179"/>
                        <a:pt x="3" y="1531"/>
                        <a:pt x="223" y="1748"/>
                      </a:cubicBezTo>
                      <a:cubicBezTo>
                        <a:pt x="333" y="1860"/>
                        <a:pt x="478" y="1915"/>
                        <a:pt x="623" y="1915"/>
                      </a:cubicBezTo>
                      <a:cubicBezTo>
                        <a:pt x="764" y="1915"/>
                        <a:pt x="905" y="1863"/>
                        <a:pt x="1015" y="1757"/>
                      </a:cubicBezTo>
                      <a:lnTo>
                        <a:pt x="1813" y="959"/>
                      </a:lnTo>
                      <a:cubicBezTo>
                        <a:pt x="2027" y="736"/>
                        <a:pt x="2024" y="384"/>
                        <a:pt x="1804" y="167"/>
                      </a:cubicBezTo>
                      <a:cubicBezTo>
                        <a:pt x="1694" y="56"/>
                        <a:pt x="1549" y="0"/>
                        <a:pt x="140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192" name="Google Shape;728;p31">
                  <a:extLst>
                    <a:ext uri="{FF2B5EF4-FFF2-40B4-BE49-F238E27FC236}">
                      <a16:creationId xmlns:a16="http://schemas.microsoft.com/office/drawing/2014/main" id="{5E312C57-B0DE-4E52-93BB-732667819D59}"/>
                    </a:ext>
                  </a:extLst>
                </p:cNvPr>
                <p:cNvSpPr/>
                <p:nvPr/>
              </p:nvSpPr>
              <p:spPr>
                <a:xfrm>
                  <a:off x="5477775" y="2272000"/>
                  <a:ext cx="50825" cy="48075"/>
                </a:xfrm>
                <a:custGeom>
                  <a:avLst/>
                  <a:gdLst/>
                  <a:ahLst/>
                  <a:cxnLst/>
                  <a:rect l="l" t="t" r="r" b="b"/>
                  <a:pathLst>
                    <a:path w="2033" h="1923" extrusionOk="0">
                      <a:moveTo>
                        <a:pt x="621" y="1"/>
                      </a:moveTo>
                      <a:cubicBezTo>
                        <a:pt x="476" y="1"/>
                        <a:pt x="331" y="56"/>
                        <a:pt x="220" y="166"/>
                      </a:cubicBezTo>
                      <a:cubicBezTo>
                        <a:pt x="0" y="388"/>
                        <a:pt x="0" y="744"/>
                        <a:pt x="220" y="967"/>
                      </a:cubicBezTo>
                      <a:lnTo>
                        <a:pt x="1021" y="1765"/>
                      </a:lnTo>
                      <a:cubicBezTo>
                        <a:pt x="1129" y="1870"/>
                        <a:pt x="1270" y="1923"/>
                        <a:pt x="1411" y="1923"/>
                      </a:cubicBezTo>
                      <a:cubicBezTo>
                        <a:pt x="1555" y="1923"/>
                        <a:pt x="1700" y="1867"/>
                        <a:pt x="1810" y="1756"/>
                      </a:cubicBezTo>
                      <a:cubicBezTo>
                        <a:pt x="2030" y="1539"/>
                        <a:pt x="2033" y="1186"/>
                        <a:pt x="1819" y="967"/>
                      </a:cubicBezTo>
                      <a:lnTo>
                        <a:pt x="1021" y="166"/>
                      </a:lnTo>
                      <a:cubicBezTo>
                        <a:pt x="910" y="56"/>
                        <a:pt x="765" y="1"/>
                        <a:pt x="62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grpSp>
        <p:sp>
          <p:nvSpPr>
            <p:cNvPr id="181" name="Google Shape;731;p31">
              <a:extLst>
                <a:ext uri="{FF2B5EF4-FFF2-40B4-BE49-F238E27FC236}">
                  <a16:creationId xmlns:a16="http://schemas.microsoft.com/office/drawing/2014/main" id="{2C473B63-AA2A-4157-8A34-1982BBD18528}"/>
                </a:ext>
              </a:extLst>
            </p:cNvPr>
            <p:cNvSpPr txBox="1"/>
            <p:nvPr/>
          </p:nvSpPr>
          <p:spPr>
            <a:xfrm>
              <a:off x="1110601" y="2537173"/>
              <a:ext cx="3226800" cy="685803"/>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á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hươ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rì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à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ã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ữ</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ố</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ấ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h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ữ</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ro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các</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năm</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2019-2020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bị</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giá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oạn</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do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dịc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bệ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COVID-19.</a:t>
              </a:r>
            </a:p>
          </p:txBody>
        </p:sp>
      </p:grpSp>
      <p:grpSp>
        <p:nvGrpSpPr>
          <p:cNvPr id="193" name="Google Shape;732;p31">
            <a:extLst>
              <a:ext uri="{FF2B5EF4-FFF2-40B4-BE49-F238E27FC236}">
                <a16:creationId xmlns:a16="http://schemas.microsoft.com/office/drawing/2014/main" id="{A55B9553-174E-4151-97BC-B6DCCFF5ED39}"/>
              </a:ext>
            </a:extLst>
          </p:cNvPr>
          <p:cNvGrpSpPr/>
          <p:nvPr/>
        </p:nvGrpSpPr>
        <p:grpSpPr>
          <a:xfrm>
            <a:off x="6097867" y="3537133"/>
            <a:ext cx="5495800" cy="1154394"/>
            <a:chOff x="4572000" y="2537165"/>
            <a:chExt cx="4121850" cy="685810"/>
          </a:xfrm>
        </p:grpSpPr>
        <p:grpSp>
          <p:nvGrpSpPr>
            <p:cNvPr id="194" name="Google Shape;733;p31">
              <a:extLst>
                <a:ext uri="{FF2B5EF4-FFF2-40B4-BE49-F238E27FC236}">
                  <a16:creationId xmlns:a16="http://schemas.microsoft.com/office/drawing/2014/main" id="{0CAD1E68-9E25-4510-9112-CFA91B7571DB}"/>
                </a:ext>
              </a:extLst>
            </p:cNvPr>
            <p:cNvGrpSpPr/>
            <p:nvPr/>
          </p:nvGrpSpPr>
          <p:grpSpPr>
            <a:xfrm>
              <a:off x="4572000" y="2537175"/>
              <a:ext cx="4121850" cy="685800"/>
              <a:chOff x="4572000" y="2537175"/>
              <a:chExt cx="4121850" cy="685800"/>
            </a:xfrm>
          </p:grpSpPr>
          <p:sp>
            <p:nvSpPr>
              <p:cNvPr id="198" name="Google Shape;734;p31">
                <a:extLst>
                  <a:ext uri="{FF2B5EF4-FFF2-40B4-BE49-F238E27FC236}">
                    <a16:creationId xmlns:a16="http://schemas.microsoft.com/office/drawing/2014/main" id="{973DDF32-1F39-40D3-A923-09A642AFD6D7}"/>
                  </a:ext>
                </a:extLst>
              </p:cNvPr>
              <p:cNvSpPr/>
              <p:nvPr/>
            </p:nvSpPr>
            <p:spPr>
              <a:xfrm rot="5400000">
                <a:off x="6173550" y="935625"/>
                <a:ext cx="685800" cy="3888900"/>
              </a:xfrm>
              <a:prstGeom prst="round2SameRect">
                <a:avLst>
                  <a:gd name="adj1" fmla="val 26957"/>
                  <a:gd name="adj2" fmla="val 0"/>
                </a:avLst>
              </a:prstGeom>
              <a:solidFill>
                <a:srgbClr val="3686C2"/>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199" name="Google Shape;735;p31">
                <a:extLst>
                  <a:ext uri="{FF2B5EF4-FFF2-40B4-BE49-F238E27FC236}">
                    <a16:creationId xmlns:a16="http://schemas.microsoft.com/office/drawing/2014/main" id="{A46EECFE-D8BB-48E5-B494-F919E082F546}"/>
                  </a:ext>
                </a:extLst>
              </p:cNvPr>
              <p:cNvSpPr/>
              <p:nvPr/>
            </p:nvSpPr>
            <p:spPr>
              <a:xfrm flipH="1">
                <a:off x="8192850" y="2632350"/>
                <a:ext cx="501000" cy="501000"/>
              </a:xfrm>
              <a:prstGeom prst="ellipse">
                <a:avLst/>
              </a:prstGeom>
              <a:solidFill>
                <a:srgbClr val="3686C2"/>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nvGrpSpPr>
              <p:cNvPr id="200" name="Google Shape;736;p31">
                <a:extLst>
                  <a:ext uri="{FF2B5EF4-FFF2-40B4-BE49-F238E27FC236}">
                    <a16:creationId xmlns:a16="http://schemas.microsoft.com/office/drawing/2014/main" id="{F46FFD5F-B835-4401-9EFF-C0E09C888148}"/>
                  </a:ext>
                </a:extLst>
              </p:cNvPr>
              <p:cNvGrpSpPr/>
              <p:nvPr/>
            </p:nvGrpSpPr>
            <p:grpSpPr>
              <a:xfrm>
                <a:off x="8288666" y="2725385"/>
                <a:ext cx="309380" cy="309380"/>
                <a:chOff x="3271200" y="1435075"/>
                <a:chExt cx="481825" cy="481825"/>
              </a:xfrm>
            </p:grpSpPr>
            <p:sp>
              <p:nvSpPr>
                <p:cNvPr id="201" name="Google Shape;737;p31">
                  <a:extLst>
                    <a:ext uri="{FF2B5EF4-FFF2-40B4-BE49-F238E27FC236}">
                      <a16:creationId xmlns:a16="http://schemas.microsoft.com/office/drawing/2014/main" id="{A80ED984-B4B8-4FD0-A0F4-243607762240}"/>
                    </a:ext>
                  </a:extLst>
                </p:cNvPr>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202" name="Google Shape;738;p31">
                  <a:extLst>
                    <a:ext uri="{FF2B5EF4-FFF2-40B4-BE49-F238E27FC236}">
                      <a16:creationId xmlns:a16="http://schemas.microsoft.com/office/drawing/2014/main" id="{A2EFB9C6-4FEB-4B9D-878F-C0C67181320A}"/>
                    </a:ext>
                  </a:extLst>
                </p:cNvPr>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grpSp>
        <p:sp>
          <p:nvSpPr>
            <p:cNvPr id="197" name="Google Shape;741;p31">
              <a:extLst>
                <a:ext uri="{FF2B5EF4-FFF2-40B4-BE49-F238E27FC236}">
                  <a16:creationId xmlns:a16="http://schemas.microsoft.com/office/drawing/2014/main" id="{0F464507-4C59-476D-A1E6-AECC276EB7A9}"/>
                </a:ext>
              </a:extLst>
            </p:cNvPr>
            <p:cNvSpPr txBox="1"/>
            <p:nvPr/>
          </p:nvSpPr>
          <p:spPr>
            <a:xfrm>
              <a:off x="4813651" y="2537165"/>
              <a:ext cx="3226800" cy="685800"/>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ă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ườ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á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hươ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rì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à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ạo</a:t>
              </a:r>
              <a:endPar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endParaRPr>
            </a:p>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Áp</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dụng</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á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hì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hức</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học</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rực</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uyế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và</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E-learning.</a:t>
              </a:r>
            </a:p>
          </p:txBody>
        </p:sp>
      </p:grpSp>
      <p:grpSp>
        <p:nvGrpSpPr>
          <p:cNvPr id="203" name="Google Shape;742;p31">
            <a:extLst>
              <a:ext uri="{FF2B5EF4-FFF2-40B4-BE49-F238E27FC236}">
                <a16:creationId xmlns:a16="http://schemas.microsoft.com/office/drawing/2014/main" id="{724290B0-2B00-491F-B171-58DD60F577FE}"/>
              </a:ext>
            </a:extLst>
          </p:cNvPr>
          <p:cNvGrpSpPr/>
          <p:nvPr/>
        </p:nvGrpSpPr>
        <p:grpSpPr>
          <a:xfrm>
            <a:off x="604125" y="4890703"/>
            <a:ext cx="5495800" cy="1269173"/>
            <a:chOff x="457200" y="3503768"/>
            <a:chExt cx="4121850" cy="685807"/>
          </a:xfrm>
        </p:grpSpPr>
        <p:grpSp>
          <p:nvGrpSpPr>
            <p:cNvPr id="204" name="Google Shape;743;p31">
              <a:extLst>
                <a:ext uri="{FF2B5EF4-FFF2-40B4-BE49-F238E27FC236}">
                  <a16:creationId xmlns:a16="http://schemas.microsoft.com/office/drawing/2014/main" id="{24B0E8BD-75C9-4F4C-850D-18703A47B9FF}"/>
                </a:ext>
              </a:extLst>
            </p:cNvPr>
            <p:cNvGrpSpPr/>
            <p:nvPr/>
          </p:nvGrpSpPr>
          <p:grpSpPr>
            <a:xfrm>
              <a:off x="457200" y="3503775"/>
              <a:ext cx="4121850" cy="685800"/>
              <a:chOff x="457200" y="3503775"/>
              <a:chExt cx="4121850" cy="685800"/>
            </a:xfrm>
          </p:grpSpPr>
          <p:sp>
            <p:nvSpPr>
              <p:cNvPr id="208" name="Google Shape;744;p31">
                <a:extLst>
                  <a:ext uri="{FF2B5EF4-FFF2-40B4-BE49-F238E27FC236}">
                    <a16:creationId xmlns:a16="http://schemas.microsoft.com/office/drawing/2014/main" id="{20099DD1-237D-4A8C-B548-6AFDD4A5D9C9}"/>
                  </a:ext>
                </a:extLst>
              </p:cNvPr>
              <p:cNvSpPr/>
              <p:nvPr/>
            </p:nvSpPr>
            <p:spPr>
              <a:xfrm rot="-5400000" flipH="1">
                <a:off x="2291700" y="1902225"/>
                <a:ext cx="685800" cy="3888900"/>
              </a:xfrm>
              <a:prstGeom prst="round2SameRect">
                <a:avLst>
                  <a:gd name="adj1" fmla="val 26957"/>
                  <a:gd name="adj2" fmla="val 0"/>
                </a:avLst>
              </a:prstGeom>
              <a:solidFill>
                <a:srgbClr val="CE4D78"/>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09" name="Google Shape;745;p31">
                <a:extLst>
                  <a:ext uri="{FF2B5EF4-FFF2-40B4-BE49-F238E27FC236}">
                    <a16:creationId xmlns:a16="http://schemas.microsoft.com/office/drawing/2014/main" id="{652BC17F-796C-436A-B5FE-34AD0D5A2F16}"/>
                  </a:ext>
                </a:extLst>
              </p:cNvPr>
              <p:cNvSpPr/>
              <p:nvPr/>
            </p:nvSpPr>
            <p:spPr>
              <a:xfrm>
                <a:off x="457200" y="3598950"/>
                <a:ext cx="501000" cy="501000"/>
              </a:xfrm>
              <a:prstGeom prst="ellipse">
                <a:avLst/>
              </a:prstGeom>
              <a:solidFill>
                <a:srgbClr val="CE4D78"/>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grpSp>
            <p:nvGrpSpPr>
              <p:cNvPr id="210" name="Google Shape;746;p31">
                <a:extLst>
                  <a:ext uri="{FF2B5EF4-FFF2-40B4-BE49-F238E27FC236}">
                    <a16:creationId xmlns:a16="http://schemas.microsoft.com/office/drawing/2014/main" id="{3C31B061-7D5B-4CD4-8127-6A9D78CCD25F}"/>
                  </a:ext>
                </a:extLst>
              </p:cNvPr>
              <p:cNvGrpSpPr/>
              <p:nvPr/>
            </p:nvGrpSpPr>
            <p:grpSpPr>
              <a:xfrm>
                <a:off x="547253" y="3713746"/>
                <a:ext cx="320889" cy="271416"/>
                <a:chOff x="2678350" y="1464650"/>
                <a:chExt cx="499750" cy="422700"/>
              </a:xfrm>
            </p:grpSpPr>
            <p:sp>
              <p:nvSpPr>
                <p:cNvPr id="211" name="Google Shape;747;p31">
                  <a:extLst>
                    <a:ext uri="{FF2B5EF4-FFF2-40B4-BE49-F238E27FC236}">
                      <a16:creationId xmlns:a16="http://schemas.microsoft.com/office/drawing/2014/main" id="{4C7700AB-DA85-4FCB-9F90-CBCBEB407329}"/>
                    </a:ext>
                  </a:extLst>
                </p:cNvPr>
                <p:cNvSpPr/>
                <p:nvPr/>
              </p:nvSpPr>
              <p:spPr>
                <a:xfrm>
                  <a:off x="3081050" y="1542700"/>
                  <a:ext cx="97050" cy="267350"/>
                </a:xfrm>
                <a:custGeom>
                  <a:avLst/>
                  <a:gdLst/>
                  <a:ahLst/>
                  <a:cxnLst/>
                  <a:rect l="l" t="t" r="r" b="b"/>
                  <a:pathLst>
                    <a:path w="3882" h="10694" extrusionOk="0">
                      <a:moveTo>
                        <a:pt x="618" y="0"/>
                      </a:moveTo>
                      <a:cubicBezTo>
                        <a:pt x="474" y="0"/>
                        <a:pt x="329" y="55"/>
                        <a:pt x="220" y="165"/>
                      </a:cubicBezTo>
                      <a:cubicBezTo>
                        <a:pt x="3" y="384"/>
                        <a:pt x="0" y="737"/>
                        <a:pt x="214" y="957"/>
                      </a:cubicBezTo>
                      <a:cubicBezTo>
                        <a:pt x="2650" y="3375"/>
                        <a:pt x="2650" y="7316"/>
                        <a:pt x="214" y="9737"/>
                      </a:cubicBezTo>
                      <a:cubicBezTo>
                        <a:pt x="0" y="9957"/>
                        <a:pt x="3" y="10310"/>
                        <a:pt x="220" y="10526"/>
                      </a:cubicBezTo>
                      <a:cubicBezTo>
                        <a:pt x="330" y="10638"/>
                        <a:pt x="475" y="10693"/>
                        <a:pt x="620" y="10693"/>
                      </a:cubicBezTo>
                      <a:cubicBezTo>
                        <a:pt x="761" y="10693"/>
                        <a:pt x="902" y="10641"/>
                        <a:pt x="1012" y="10535"/>
                      </a:cubicBezTo>
                      <a:cubicBezTo>
                        <a:pt x="3882" y="7672"/>
                        <a:pt x="3882" y="3022"/>
                        <a:pt x="1012" y="159"/>
                      </a:cubicBezTo>
                      <a:cubicBezTo>
                        <a:pt x="902" y="53"/>
                        <a:pt x="760" y="0"/>
                        <a:pt x="61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212" name="Google Shape;748;p31">
                  <a:extLst>
                    <a:ext uri="{FF2B5EF4-FFF2-40B4-BE49-F238E27FC236}">
                      <a16:creationId xmlns:a16="http://schemas.microsoft.com/office/drawing/2014/main" id="{A1BF2F72-BDD8-40D3-A156-EFC341077D82}"/>
                    </a:ext>
                  </a:extLst>
                </p:cNvPr>
                <p:cNvSpPr/>
                <p:nvPr/>
              </p:nvSpPr>
              <p:spPr>
                <a:xfrm>
                  <a:off x="3041000" y="1582600"/>
                  <a:ext cx="75075" cy="187725"/>
                </a:xfrm>
                <a:custGeom>
                  <a:avLst/>
                  <a:gdLst/>
                  <a:ahLst/>
                  <a:cxnLst/>
                  <a:rect l="l" t="t" r="r" b="b"/>
                  <a:pathLst>
                    <a:path w="3003" h="7509" extrusionOk="0">
                      <a:moveTo>
                        <a:pt x="626" y="0"/>
                      </a:moveTo>
                      <a:cubicBezTo>
                        <a:pt x="482" y="0"/>
                        <a:pt x="337" y="55"/>
                        <a:pt x="226" y="165"/>
                      </a:cubicBezTo>
                      <a:cubicBezTo>
                        <a:pt x="9" y="381"/>
                        <a:pt x="6" y="734"/>
                        <a:pt x="220" y="957"/>
                      </a:cubicBezTo>
                      <a:cubicBezTo>
                        <a:pt x="1774" y="2495"/>
                        <a:pt x="1774" y="5007"/>
                        <a:pt x="220" y="6545"/>
                      </a:cubicBezTo>
                      <a:cubicBezTo>
                        <a:pt x="0" y="6765"/>
                        <a:pt x="0" y="7124"/>
                        <a:pt x="220" y="7343"/>
                      </a:cubicBezTo>
                      <a:cubicBezTo>
                        <a:pt x="330" y="7453"/>
                        <a:pt x="474" y="7508"/>
                        <a:pt x="619" y="7508"/>
                      </a:cubicBezTo>
                      <a:cubicBezTo>
                        <a:pt x="763" y="7508"/>
                        <a:pt x="908" y="7453"/>
                        <a:pt x="1018" y="7343"/>
                      </a:cubicBezTo>
                      <a:cubicBezTo>
                        <a:pt x="3002" y="5359"/>
                        <a:pt x="3002" y="2143"/>
                        <a:pt x="1018" y="159"/>
                      </a:cubicBezTo>
                      <a:cubicBezTo>
                        <a:pt x="909" y="53"/>
                        <a:pt x="768" y="0"/>
                        <a:pt x="626"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sp>
              <p:nvSpPr>
                <p:cNvPr id="213" name="Google Shape;749;p31">
                  <a:extLst>
                    <a:ext uri="{FF2B5EF4-FFF2-40B4-BE49-F238E27FC236}">
                      <a16:creationId xmlns:a16="http://schemas.microsoft.com/office/drawing/2014/main" id="{EEBBA421-ACA0-478B-B834-1419D75CEE1D}"/>
                    </a:ext>
                  </a:extLst>
                </p:cNvPr>
                <p:cNvSpPr/>
                <p:nvPr/>
              </p:nvSpPr>
              <p:spPr>
                <a:xfrm>
                  <a:off x="2678350" y="1464650"/>
                  <a:ext cx="339700" cy="422700"/>
                </a:xfrm>
                <a:custGeom>
                  <a:avLst/>
                  <a:gdLst/>
                  <a:ahLst/>
                  <a:cxnLst/>
                  <a:rect l="l" t="t" r="r" b="b"/>
                  <a:pathLst>
                    <a:path w="13588" h="16908" extrusionOk="0">
                      <a:moveTo>
                        <a:pt x="5683" y="5632"/>
                      </a:moveTo>
                      <a:lnTo>
                        <a:pt x="5683" y="11278"/>
                      </a:lnTo>
                      <a:lnTo>
                        <a:pt x="3952" y="11278"/>
                      </a:lnTo>
                      <a:cubicBezTo>
                        <a:pt x="3638" y="11278"/>
                        <a:pt x="3389" y="11026"/>
                        <a:pt x="3389" y="10712"/>
                      </a:cubicBezTo>
                      <a:lnTo>
                        <a:pt x="3389" y="6195"/>
                      </a:lnTo>
                      <a:cubicBezTo>
                        <a:pt x="3389" y="5882"/>
                        <a:pt x="3638" y="5632"/>
                        <a:pt x="3952" y="5632"/>
                      </a:cubicBezTo>
                      <a:close/>
                      <a:moveTo>
                        <a:pt x="11895" y="1115"/>
                      </a:moveTo>
                      <a:cubicBezTo>
                        <a:pt x="12206" y="1115"/>
                        <a:pt x="12458" y="1365"/>
                        <a:pt x="12458" y="1679"/>
                      </a:cubicBezTo>
                      <a:lnTo>
                        <a:pt x="12458" y="15229"/>
                      </a:lnTo>
                      <a:cubicBezTo>
                        <a:pt x="12458" y="15542"/>
                        <a:pt x="12206" y="15792"/>
                        <a:pt x="11895" y="15792"/>
                      </a:cubicBezTo>
                      <a:cubicBezTo>
                        <a:pt x="11582" y="15792"/>
                        <a:pt x="11329" y="15542"/>
                        <a:pt x="11329" y="15229"/>
                      </a:cubicBezTo>
                      <a:lnTo>
                        <a:pt x="11329" y="1679"/>
                      </a:lnTo>
                      <a:cubicBezTo>
                        <a:pt x="11329" y="1365"/>
                        <a:pt x="11582" y="1115"/>
                        <a:pt x="11895" y="1115"/>
                      </a:cubicBezTo>
                      <a:close/>
                      <a:moveTo>
                        <a:pt x="11892" y="0"/>
                      </a:moveTo>
                      <a:cubicBezTo>
                        <a:pt x="11090" y="0"/>
                        <a:pt x="10386" y="570"/>
                        <a:pt x="10230" y="1374"/>
                      </a:cubicBezTo>
                      <a:lnTo>
                        <a:pt x="6060" y="4503"/>
                      </a:lnTo>
                      <a:lnTo>
                        <a:pt x="3952" y="4503"/>
                      </a:lnTo>
                      <a:cubicBezTo>
                        <a:pt x="3235" y="4503"/>
                        <a:pt x="2600" y="4955"/>
                        <a:pt x="2362" y="5632"/>
                      </a:cubicBezTo>
                      <a:lnTo>
                        <a:pt x="1693" y="5632"/>
                      </a:lnTo>
                      <a:cubicBezTo>
                        <a:pt x="757" y="5632"/>
                        <a:pt x="1" y="6388"/>
                        <a:pt x="1" y="7325"/>
                      </a:cubicBezTo>
                      <a:lnTo>
                        <a:pt x="1" y="9583"/>
                      </a:lnTo>
                      <a:cubicBezTo>
                        <a:pt x="1" y="10520"/>
                        <a:pt x="757" y="11275"/>
                        <a:pt x="1693" y="11278"/>
                      </a:cubicBezTo>
                      <a:lnTo>
                        <a:pt x="2362" y="11278"/>
                      </a:lnTo>
                      <a:cubicBezTo>
                        <a:pt x="2600" y="11953"/>
                        <a:pt x="3235" y="12405"/>
                        <a:pt x="3952" y="12408"/>
                      </a:cubicBezTo>
                      <a:lnTo>
                        <a:pt x="6060" y="12408"/>
                      </a:lnTo>
                      <a:lnTo>
                        <a:pt x="10230" y="15533"/>
                      </a:lnTo>
                      <a:cubicBezTo>
                        <a:pt x="10386" y="16336"/>
                        <a:pt x="11087" y="16908"/>
                        <a:pt x="11888" y="16908"/>
                      </a:cubicBezTo>
                      <a:cubicBezTo>
                        <a:pt x="11940" y="16908"/>
                        <a:pt x="11993" y="16905"/>
                        <a:pt x="12046" y="16900"/>
                      </a:cubicBezTo>
                      <a:cubicBezTo>
                        <a:pt x="12913" y="16822"/>
                        <a:pt x="13582" y="16099"/>
                        <a:pt x="13588" y="15229"/>
                      </a:cubicBezTo>
                      <a:lnTo>
                        <a:pt x="13588" y="1679"/>
                      </a:lnTo>
                      <a:cubicBezTo>
                        <a:pt x="13579" y="808"/>
                        <a:pt x="12913" y="86"/>
                        <a:pt x="12046" y="7"/>
                      </a:cubicBezTo>
                      <a:cubicBezTo>
                        <a:pt x="11994" y="3"/>
                        <a:pt x="11943" y="0"/>
                        <a:pt x="1189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grpSp>
        <p:sp>
          <p:nvSpPr>
            <p:cNvPr id="207" name="Google Shape;752;p31">
              <a:extLst>
                <a:ext uri="{FF2B5EF4-FFF2-40B4-BE49-F238E27FC236}">
                  <a16:creationId xmlns:a16="http://schemas.microsoft.com/office/drawing/2014/main" id="{E32217A5-34A6-4205-A726-7D7DB49A49A8}"/>
                </a:ext>
              </a:extLst>
            </p:cNvPr>
            <p:cNvSpPr txBox="1"/>
            <p:nvPr/>
          </p:nvSpPr>
          <p:spPr>
            <a:xfrm>
              <a:off x="1110601" y="3503768"/>
              <a:ext cx="3226800" cy="685800"/>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ò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định</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kiế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cho</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rằ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phụ</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nữ</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khô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ự</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tin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ể</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rở</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hà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ã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a:t>
              </a:r>
            </a:p>
          </p:txBody>
        </p:sp>
      </p:grpSp>
      <p:grpSp>
        <p:nvGrpSpPr>
          <p:cNvPr id="214" name="Google Shape;753;p31">
            <a:extLst>
              <a:ext uri="{FF2B5EF4-FFF2-40B4-BE49-F238E27FC236}">
                <a16:creationId xmlns:a16="http://schemas.microsoft.com/office/drawing/2014/main" id="{2CF6CB46-FBD5-41E1-A9F8-B8A580CCA742}"/>
              </a:ext>
            </a:extLst>
          </p:cNvPr>
          <p:cNvGrpSpPr/>
          <p:nvPr/>
        </p:nvGrpSpPr>
        <p:grpSpPr>
          <a:xfrm>
            <a:off x="6090525" y="4890685"/>
            <a:ext cx="5495800" cy="1269199"/>
            <a:chOff x="4572000" y="3503754"/>
            <a:chExt cx="4121850" cy="685821"/>
          </a:xfrm>
        </p:grpSpPr>
        <p:grpSp>
          <p:nvGrpSpPr>
            <p:cNvPr id="215" name="Google Shape;754;p31">
              <a:extLst>
                <a:ext uri="{FF2B5EF4-FFF2-40B4-BE49-F238E27FC236}">
                  <a16:creationId xmlns:a16="http://schemas.microsoft.com/office/drawing/2014/main" id="{B565E346-3C87-4779-A38E-FA8323D60919}"/>
                </a:ext>
              </a:extLst>
            </p:cNvPr>
            <p:cNvGrpSpPr/>
            <p:nvPr/>
          </p:nvGrpSpPr>
          <p:grpSpPr>
            <a:xfrm>
              <a:off x="4572000" y="3503775"/>
              <a:ext cx="4121850" cy="685800"/>
              <a:chOff x="4572000" y="3503775"/>
              <a:chExt cx="4121850" cy="685800"/>
            </a:xfrm>
          </p:grpSpPr>
          <p:sp>
            <p:nvSpPr>
              <p:cNvPr id="219" name="Google Shape;755;p31">
                <a:extLst>
                  <a:ext uri="{FF2B5EF4-FFF2-40B4-BE49-F238E27FC236}">
                    <a16:creationId xmlns:a16="http://schemas.microsoft.com/office/drawing/2014/main" id="{FE663EC5-1656-4E7A-89D3-38AE995BDDDC}"/>
                  </a:ext>
                </a:extLst>
              </p:cNvPr>
              <p:cNvSpPr/>
              <p:nvPr/>
            </p:nvSpPr>
            <p:spPr>
              <a:xfrm rot="5400000">
                <a:off x="6173550" y="1902225"/>
                <a:ext cx="685800" cy="3888900"/>
              </a:xfrm>
              <a:prstGeom prst="round2SameRect">
                <a:avLst>
                  <a:gd name="adj1" fmla="val 26957"/>
                  <a:gd name="adj2" fmla="val 0"/>
                </a:avLst>
              </a:prstGeom>
              <a:solidFill>
                <a:srgbClr val="324275"/>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20" name="Google Shape;756;p31">
                <a:extLst>
                  <a:ext uri="{FF2B5EF4-FFF2-40B4-BE49-F238E27FC236}">
                    <a16:creationId xmlns:a16="http://schemas.microsoft.com/office/drawing/2014/main" id="{D1BF82A6-4953-4B49-B3BB-39A1CB2719F0}"/>
                  </a:ext>
                </a:extLst>
              </p:cNvPr>
              <p:cNvSpPr/>
              <p:nvPr/>
            </p:nvSpPr>
            <p:spPr>
              <a:xfrm flipH="1">
                <a:off x="8192850" y="3598950"/>
                <a:ext cx="501000" cy="501000"/>
              </a:xfrm>
              <a:prstGeom prst="ellipse">
                <a:avLst/>
              </a:prstGeom>
              <a:solidFill>
                <a:srgbClr val="324275"/>
              </a:solidFill>
              <a:ln w="2857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000000"/>
                  </a:solidFill>
                  <a:effectLst/>
                  <a:uLnTx/>
                  <a:uFillTx/>
                  <a:latin typeface="Times New Roman" panose="02020603050405020304" pitchFamily="18" charset="0"/>
                  <a:cs typeface="Times New Roman" panose="02020603050405020304" pitchFamily="18" charset="0"/>
                  <a:sym typeface="Arial"/>
                </a:endParaRPr>
              </a:p>
            </p:txBody>
          </p:sp>
          <p:sp>
            <p:nvSpPr>
              <p:cNvPr id="221" name="Google Shape;757;p31">
                <a:extLst>
                  <a:ext uri="{FF2B5EF4-FFF2-40B4-BE49-F238E27FC236}">
                    <a16:creationId xmlns:a16="http://schemas.microsoft.com/office/drawing/2014/main" id="{8D1C925C-E2C8-4A1F-8896-B437E55CB17D}"/>
                  </a:ext>
                </a:extLst>
              </p:cNvPr>
              <p:cNvSpPr/>
              <p:nvPr/>
            </p:nvSpPr>
            <p:spPr>
              <a:xfrm>
                <a:off x="8293770" y="3704434"/>
                <a:ext cx="309380" cy="290053"/>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1900" b="0" i="0" u="none" strike="noStrike" kern="0" cap="none" spc="0" normalizeH="0" baseline="0" noProof="0">
                  <a:ln>
                    <a:noFill/>
                  </a:ln>
                  <a:solidFill>
                    <a:srgbClr val="435D74"/>
                  </a:solidFill>
                  <a:effectLst/>
                  <a:uLnTx/>
                  <a:uFillTx/>
                  <a:latin typeface="Times New Roman" panose="02020603050405020304" pitchFamily="18" charset="0"/>
                  <a:cs typeface="Times New Roman" panose="02020603050405020304" pitchFamily="18" charset="0"/>
                  <a:sym typeface="Arial"/>
                </a:endParaRPr>
              </a:p>
            </p:txBody>
          </p:sp>
        </p:grpSp>
        <p:sp>
          <p:nvSpPr>
            <p:cNvPr id="218" name="Google Shape;760;p31">
              <a:extLst>
                <a:ext uri="{FF2B5EF4-FFF2-40B4-BE49-F238E27FC236}">
                  <a16:creationId xmlns:a16="http://schemas.microsoft.com/office/drawing/2014/main" id="{CB413CBB-CFC0-43FF-8A97-C8D0635E04BB}"/>
                </a:ext>
              </a:extLst>
            </p:cNvPr>
            <p:cNvSpPr txBox="1"/>
            <p:nvPr/>
          </p:nvSpPr>
          <p:spPr>
            <a:xfrm>
              <a:off x="4813651" y="3503754"/>
              <a:ext cx="3226800" cy="685800"/>
            </a:xfrm>
            <a:prstGeom prst="rect">
              <a:avLst/>
            </a:prstGeom>
            <a:noFill/>
            <a:ln>
              <a:noFill/>
            </a:ln>
          </p:spPr>
          <p:txBody>
            <a:bodyPr spcFirstLastPara="1" wrap="square" lIns="121900" tIns="121900" rIns="121900" bIns="121900" anchor="ctr" anchorCtr="0">
              <a:noAutofit/>
            </a:bodyPr>
            <a:lstStyle/>
            <a:p>
              <a:pPr marL="0" marR="0" lvl="0" indent="0" algn="just" defTabSz="1219170" eaLnBrk="1" fontAlgn="auto" latinLnBrk="0" hangingPunct="1">
                <a:lnSpc>
                  <a:spcPct val="100000"/>
                </a:lnSpc>
                <a:spcBef>
                  <a:spcPts val="0"/>
                </a:spcBef>
                <a:spcAft>
                  <a:spcPts val="0"/>
                </a:spcAft>
                <a:buClr>
                  <a:srgbClr val="000000"/>
                </a:buClr>
                <a:buSzTx/>
                <a:buFontTx/>
                <a:buNone/>
                <a:tabLst/>
                <a:defRPr/>
              </a:pP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riể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khai</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cô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ác</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ruyề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hô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ác</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buổi</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ọa</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àm</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đào</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ạo</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về</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bình</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đẳ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giới</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vấ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đề</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giới</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tro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quản</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r>
                <a:rPr kumimoji="0" lang="en-US" sz="1900" b="0" i="0" u="none" strike="noStrike" kern="0" cap="none" spc="0" normalizeH="0" baseline="0" noProof="0" dirty="0" err="1">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lý</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ối</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ới</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ã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ấp</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ca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và</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lãnh</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đạo</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ữ</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tiềm</a:t>
              </a:r>
              <a:r>
                <a:rPr lang="en-US" sz="1900" kern="0" dirty="0">
                  <a:solidFill>
                    <a:srgbClr val="FFFFFF"/>
                  </a:solidFill>
                  <a:latin typeface="Times New Roman" panose="02020603050405020304" pitchFamily="18" charset="0"/>
                  <a:ea typeface="Roboto"/>
                  <a:cs typeface="Times New Roman" panose="02020603050405020304" pitchFamily="18" charset="0"/>
                  <a:sym typeface="Roboto"/>
                </a:rPr>
                <a:t> </a:t>
              </a:r>
              <a:r>
                <a:rPr lang="en-US" sz="1900" kern="0" dirty="0" err="1">
                  <a:solidFill>
                    <a:srgbClr val="FFFFFF"/>
                  </a:solidFill>
                  <a:latin typeface="Times New Roman" panose="02020603050405020304" pitchFamily="18" charset="0"/>
                  <a:ea typeface="Roboto"/>
                  <a:cs typeface="Times New Roman" panose="02020603050405020304" pitchFamily="18" charset="0"/>
                  <a:sym typeface="Roboto"/>
                </a:rPr>
                <a:t>năng</a:t>
              </a:r>
              <a:r>
                <a:rPr kumimoji="0" lang="en-US" sz="1900" b="0" i="0" u="none" strike="noStrike" kern="0" cap="none" spc="0" normalizeH="0" baseline="0" noProof="0" dirty="0">
                  <a:ln>
                    <a:noFill/>
                  </a:ln>
                  <a:solidFill>
                    <a:srgbClr val="FFFFFF"/>
                  </a:solidFill>
                  <a:effectLst/>
                  <a:uLnTx/>
                  <a:uFillTx/>
                  <a:latin typeface="Times New Roman" panose="02020603050405020304" pitchFamily="18" charset="0"/>
                  <a:ea typeface="Roboto"/>
                  <a:cs typeface="Times New Roman" panose="02020603050405020304" pitchFamily="18" charset="0"/>
                  <a:sym typeface="Roboto"/>
                </a:rPr>
                <a:t>. </a:t>
              </a:r>
            </a:p>
          </p:txBody>
        </p:sp>
      </p:grpSp>
      <p:grpSp>
        <p:nvGrpSpPr>
          <p:cNvPr id="222" name="Google Shape;761;p31">
            <a:extLst>
              <a:ext uri="{FF2B5EF4-FFF2-40B4-BE49-F238E27FC236}">
                <a16:creationId xmlns:a16="http://schemas.microsoft.com/office/drawing/2014/main" id="{7441C16C-1D99-4465-966F-3312DB6BF14F}"/>
              </a:ext>
            </a:extLst>
          </p:cNvPr>
          <p:cNvGrpSpPr/>
          <p:nvPr/>
        </p:nvGrpSpPr>
        <p:grpSpPr>
          <a:xfrm>
            <a:off x="2485533" y="1640067"/>
            <a:ext cx="3508867" cy="310000"/>
            <a:chOff x="1864150" y="1230050"/>
            <a:chExt cx="2631650" cy="232500"/>
          </a:xfrm>
        </p:grpSpPr>
        <p:sp>
          <p:nvSpPr>
            <p:cNvPr id="223" name="Google Shape;762;p31">
              <a:extLst>
                <a:ext uri="{FF2B5EF4-FFF2-40B4-BE49-F238E27FC236}">
                  <a16:creationId xmlns:a16="http://schemas.microsoft.com/office/drawing/2014/main" id="{F962DCD4-2817-4320-8130-332EACE762AB}"/>
                </a:ext>
              </a:extLst>
            </p:cNvPr>
            <p:cNvSpPr txBox="1"/>
            <p:nvPr/>
          </p:nvSpPr>
          <p:spPr>
            <a:xfrm>
              <a:off x="3150000" y="1230050"/>
              <a:ext cx="1345800" cy="232500"/>
            </a:xfrm>
            <a:prstGeom prst="rect">
              <a:avLst/>
            </a:prstGeom>
            <a:noFill/>
            <a:ln>
              <a:noFill/>
            </a:ln>
          </p:spPr>
          <p:txBody>
            <a:bodyPr spcFirstLastPara="1" wrap="square" lIns="121900" tIns="121900" rIns="121900" bIns="121900" anchor="ctr" anchorCtr="0">
              <a:noAutofit/>
            </a:bodyPr>
            <a:lstStyle/>
            <a:p>
              <a:pPr marL="0" marR="0" lvl="0" indent="0" algn="r"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rPr>
                <a:t>2016-2020</a:t>
              </a:r>
              <a:endParaRPr kumimoji="0"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224" name="Google Shape;763;p31">
              <a:extLst>
                <a:ext uri="{FF2B5EF4-FFF2-40B4-BE49-F238E27FC236}">
                  <a16:creationId xmlns:a16="http://schemas.microsoft.com/office/drawing/2014/main" id="{8EECBEAE-8E43-41C9-AB95-52A58D6C4E79}"/>
                </a:ext>
              </a:extLst>
            </p:cNvPr>
            <p:cNvCxnSpPr/>
            <p:nvPr/>
          </p:nvCxnSpPr>
          <p:spPr>
            <a:xfrm rot="10800000">
              <a:off x="1864150" y="1361725"/>
              <a:ext cx="1484100" cy="0"/>
            </a:xfrm>
            <a:prstGeom prst="straightConnector1">
              <a:avLst/>
            </a:prstGeom>
            <a:noFill/>
            <a:ln w="19050" cap="flat" cmpd="sng">
              <a:solidFill>
                <a:srgbClr val="CE4D78"/>
              </a:solidFill>
              <a:prstDash val="solid"/>
              <a:round/>
              <a:headEnd type="none" w="med" len="med"/>
              <a:tailEnd type="triangle" w="med" len="med"/>
            </a:ln>
          </p:spPr>
        </p:cxnSp>
      </p:grpSp>
      <p:grpSp>
        <p:nvGrpSpPr>
          <p:cNvPr id="225" name="Google Shape;764;p31">
            <a:extLst>
              <a:ext uri="{FF2B5EF4-FFF2-40B4-BE49-F238E27FC236}">
                <a16:creationId xmlns:a16="http://schemas.microsoft.com/office/drawing/2014/main" id="{A88B959F-5903-48D4-BE19-9A5FD7258665}"/>
              </a:ext>
            </a:extLst>
          </p:cNvPr>
          <p:cNvGrpSpPr/>
          <p:nvPr/>
        </p:nvGrpSpPr>
        <p:grpSpPr>
          <a:xfrm>
            <a:off x="6207000" y="1640067"/>
            <a:ext cx="3574438" cy="310000"/>
            <a:chOff x="4655250" y="1230050"/>
            <a:chExt cx="2680829" cy="232500"/>
          </a:xfrm>
        </p:grpSpPr>
        <p:sp>
          <p:nvSpPr>
            <p:cNvPr id="226" name="Google Shape;765;p31">
              <a:extLst>
                <a:ext uri="{FF2B5EF4-FFF2-40B4-BE49-F238E27FC236}">
                  <a16:creationId xmlns:a16="http://schemas.microsoft.com/office/drawing/2014/main" id="{B9607B0D-5E88-4D64-8F32-2DC10A7AA5EF}"/>
                </a:ext>
              </a:extLst>
            </p:cNvPr>
            <p:cNvSpPr txBox="1"/>
            <p:nvPr/>
          </p:nvSpPr>
          <p:spPr>
            <a:xfrm>
              <a:off x="4655250" y="1230050"/>
              <a:ext cx="1345800" cy="232500"/>
            </a:xfrm>
            <a:prstGeom prst="rect">
              <a:avLst/>
            </a:prstGeom>
            <a:no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rPr>
                <a:t>2021-2025</a:t>
              </a:r>
              <a:endParaRPr kumimoji="0"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227" name="Google Shape;766;p31">
              <a:extLst>
                <a:ext uri="{FF2B5EF4-FFF2-40B4-BE49-F238E27FC236}">
                  <a16:creationId xmlns:a16="http://schemas.microsoft.com/office/drawing/2014/main" id="{85E7640F-D8AD-4830-B483-40F13B4720B1}"/>
                </a:ext>
              </a:extLst>
            </p:cNvPr>
            <p:cNvCxnSpPr/>
            <p:nvPr/>
          </p:nvCxnSpPr>
          <p:spPr>
            <a:xfrm>
              <a:off x="5821079" y="1361725"/>
              <a:ext cx="1515000" cy="0"/>
            </a:xfrm>
            <a:prstGeom prst="straightConnector1">
              <a:avLst/>
            </a:prstGeom>
            <a:noFill/>
            <a:ln w="19050" cap="flat" cmpd="sng">
              <a:solidFill>
                <a:srgbClr val="324275"/>
              </a:solidFill>
              <a:prstDash val="solid"/>
              <a:round/>
              <a:headEnd type="none" w="med" len="med"/>
              <a:tailEnd type="triangle" w="med" len="med"/>
            </a:ln>
          </p:spPr>
        </p:cxnSp>
      </p:grpSp>
    </p:spTree>
    <p:extLst>
      <p:ext uri="{BB962C8B-B14F-4D97-AF65-F5344CB8AC3E}">
        <p14:creationId xmlns:p14="http://schemas.microsoft.com/office/powerpoint/2010/main" val="4155050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2" y="383581"/>
            <a:ext cx="12191999" cy="5539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lang="en-US" sz="3000" b="1" dirty="0">
                <a:solidFill>
                  <a:srgbClr val="164397"/>
                </a:solidFill>
                <a:latin typeface="HelveticaBlackVU" panose="00000900000000000000" pitchFamily="2" charset="0"/>
              </a:rPr>
              <a:t>HỘI NHẬP</a:t>
            </a:r>
            <a:r>
              <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rPr>
              <a:t> NHẬP VÀ ĐÀO TẠO</a:t>
            </a:r>
          </a:p>
        </p:txBody>
      </p:sp>
      <p:grpSp>
        <p:nvGrpSpPr>
          <p:cNvPr id="12" name="Group 11">
            <a:extLst>
              <a:ext uri="{FF2B5EF4-FFF2-40B4-BE49-F238E27FC236}">
                <a16:creationId xmlns:a16="http://schemas.microsoft.com/office/drawing/2014/main" id="{8B97FF94-7B3A-4EA9-9562-1C86ACA1827E}"/>
              </a:ext>
            </a:extLst>
          </p:cNvPr>
          <p:cNvGrpSpPr/>
          <p:nvPr/>
        </p:nvGrpSpPr>
        <p:grpSpPr>
          <a:xfrm>
            <a:off x="295275" y="1638679"/>
            <a:ext cx="11639549" cy="4594893"/>
            <a:chOff x="764828" y="1362798"/>
            <a:chExt cx="10349121" cy="4395998"/>
          </a:xfrm>
        </p:grpSpPr>
        <p:sp>
          <p:nvSpPr>
            <p:cNvPr id="14" name="직사각형 68">
              <a:extLst>
                <a:ext uri="{FF2B5EF4-FFF2-40B4-BE49-F238E27FC236}">
                  <a16:creationId xmlns:a16="http://schemas.microsoft.com/office/drawing/2014/main" id="{7D824C7C-D187-4FB2-AA4E-0ED6064FF9B9}"/>
                </a:ext>
              </a:extLst>
            </p:cNvPr>
            <p:cNvSpPr/>
            <p:nvPr/>
          </p:nvSpPr>
          <p:spPr>
            <a:xfrm>
              <a:off x="764828" y="1362798"/>
              <a:ext cx="3564000" cy="1393251"/>
            </a:xfrm>
            <a:prstGeom prst="rect">
              <a:avLst/>
            </a:prstGeom>
            <a:solidFill>
              <a:schemeClr val="bg1"/>
            </a:solidFill>
            <a:ln w="76200">
              <a:solidFill>
                <a:srgbClr val="FAB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5" name="직사각형 69">
              <a:extLst>
                <a:ext uri="{FF2B5EF4-FFF2-40B4-BE49-F238E27FC236}">
                  <a16:creationId xmlns:a16="http://schemas.microsoft.com/office/drawing/2014/main" id="{9F22EA50-B78B-46C7-8FD7-87BF0DD312F6}"/>
                </a:ext>
              </a:extLst>
            </p:cNvPr>
            <p:cNvSpPr/>
            <p:nvPr/>
          </p:nvSpPr>
          <p:spPr>
            <a:xfrm>
              <a:off x="764828" y="2868367"/>
              <a:ext cx="3564000" cy="1270800"/>
            </a:xfrm>
            <a:prstGeom prst="rect">
              <a:avLst/>
            </a:prstGeom>
            <a:solidFill>
              <a:schemeClr val="bg1"/>
            </a:solidFill>
            <a:ln w="76200">
              <a:solidFill>
                <a:srgbClr val="F39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6" name="직사각형 70">
              <a:extLst>
                <a:ext uri="{FF2B5EF4-FFF2-40B4-BE49-F238E27FC236}">
                  <a16:creationId xmlns:a16="http://schemas.microsoft.com/office/drawing/2014/main" id="{BFC58488-B4F8-498F-BF40-B9AA99E73632}"/>
                </a:ext>
              </a:extLst>
            </p:cNvPr>
            <p:cNvSpPr/>
            <p:nvPr/>
          </p:nvSpPr>
          <p:spPr>
            <a:xfrm>
              <a:off x="764828" y="4329337"/>
              <a:ext cx="3564000" cy="1270800"/>
            </a:xfrm>
            <a:prstGeom prst="rect">
              <a:avLst/>
            </a:prstGeom>
            <a:solidFill>
              <a:schemeClr val="bg1"/>
            </a:solid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7" name="직사각형 2">
              <a:extLst>
                <a:ext uri="{FF2B5EF4-FFF2-40B4-BE49-F238E27FC236}">
                  <a16:creationId xmlns:a16="http://schemas.microsoft.com/office/drawing/2014/main" id="{4B095A86-C624-4422-997E-1F1F35A1FC91}"/>
                </a:ext>
              </a:extLst>
            </p:cNvPr>
            <p:cNvSpPr/>
            <p:nvPr/>
          </p:nvSpPr>
          <p:spPr>
            <a:xfrm>
              <a:off x="7549949" y="1464851"/>
              <a:ext cx="3564000" cy="1270800"/>
            </a:xfrm>
            <a:prstGeom prst="rect">
              <a:avLst/>
            </a:prstGeom>
            <a:solidFill>
              <a:schemeClr val="bg1"/>
            </a:solidFill>
            <a:ln w="76200">
              <a:solidFill>
                <a:srgbClr val="3686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8" name="직사각형 63">
              <a:extLst>
                <a:ext uri="{FF2B5EF4-FFF2-40B4-BE49-F238E27FC236}">
                  <a16:creationId xmlns:a16="http://schemas.microsoft.com/office/drawing/2014/main" id="{B0ABBA24-271B-4902-BC4A-52A9ADFEE7F5}"/>
                </a:ext>
              </a:extLst>
            </p:cNvPr>
            <p:cNvSpPr/>
            <p:nvPr/>
          </p:nvSpPr>
          <p:spPr>
            <a:xfrm>
              <a:off x="7549949" y="2882805"/>
              <a:ext cx="3564000" cy="1270800"/>
            </a:xfrm>
            <a:prstGeom prst="rect">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9" name="직사각형 64">
              <a:extLst>
                <a:ext uri="{FF2B5EF4-FFF2-40B4-BE49-F238E27FC236}">
                  <a16:creationId xmlns:a16="http://schemas.microsoft.com/office/drawing/2014/main" id="{AFA86BCA-2AB8-43D3-BD7C-CEBA52E89B69}"/>
                </a:ext>
              </a:extLst>
            </p:cNvPr>
            <p:cNvSpPr/>
            <p:nvPr/>
          </p:nvSpPr>
          <p:spPr>
            <a:xfrm>
              <a:off x="7549949" y="4332974"/>
              <a:ext cx="3564000" cy="1425822"/>
            </a:xfrm>
            <a:prstGeom prst="rect">
              <a:avLst/>
            </a:prstGeom>
            <a:solidFill>
              <a:schemeClr val="bg1"/>
            </a:solidFill>
            <a:ln w="76200">
              <a:solidFill>
                <a:srgbClr val="3A5C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20" name="Rounded Rectangle 8">
              <a:extLst>
                <a:ext uri="{FF2B5EF4-FFF2-40B4-BE49-F238E27FC236}">
                  <a16:creationId xmlns:a16="http://schemas.microsoft.com/office/drawing/2014/main" id="{B051CB63-F5AD-43C7-9AAC-6C11F08C7E6F}"/>
                </a:ext>
              </a:extLst>
            </p:cNvPr>
            <p:cNvSpPr/>
            <p:nvPr/>
          </p:nvSpPr>
          <p:spPr>
            <a:xfrm rot="2700000">
              <a:off x="4135189" y="3051890"/>
              <a:ext cx="955838" cy="955842"/>
            </a:xfrm>
            <a:prstGeom prst="roundRect">
              <a:avLst>
                <a:gd name="adj" fmla="val 9009"/>
              </a:avLst>
            </a:prstGeom>
            <a:solidFill>
              <a:srgbClr val="F394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21" name="Rounded Rectangle 9">
              <a:extLst>
                <a:ext uri="{FF2B5EF4-FFF2-40B4-BE49-F238E27FC236}">
                  <a16:creationId xmlns:a16="http://schemas.microsoft.com/office/drawing/2014/main" id="{C85D93FF-89A4-494C-8F5D-804E93D069EF}"/>
                </a:ext>
              </a:extLst>
            </p:cNvPr>
            <p:cNvSpPr/>
            <p:nvPr/>
          </p:nvSpPr>
          <p:spPr>
            <a:xfrm rot="2700000">
              <a:off x="3865325" y="3051902"/>
              <a:ext cx="955838" cy="955841"/>
            </a:xfrm>
            <a:prstGeom prst="roundRect">
              <a:avLst>
                <a:gd name="adj" fmla="val 9009"/>
              </a:avLst>
            </a:prstGeom>
            <a:solidFill>
              <a:schemeClr val="bg1"/>
            </a:solidFill>
            <a:ln w="63500">
              <a:solidFill>
                <a:srgbClr val="F39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2" name="Rounded Rectangle 11">
              <a:extLst>
                <a:ext uri="{FF2B5EF4-FFF2-40B4-BE49-F238E27FC236}">
                  <a16:creationId xmlns:a16="http://schemas.microsoft.com/office/drawing/2014/main" id="{B00661C1-D80C-4F59-A9A6-167E074682BD}"/>
                </a:ext>
              </a:extLst>
            </p:cNvPr>
            <p:cNvSpPr/>
            <p:nvPr/>
          </p:nvSpPr>
          <p:spPr>
            <a:xfrm rot="2700000">
              <a:off x="4135189" y="1525649"/>
              <a:ext cx="955838" cy="955842"/>
            </a:xfrm>
            <a:prstGeom prst="roundRect">
              <a:avLst>
                <a:gd name="adj" fmla="val 9009"/>
              </a:avLst>
            </a:prstGeom>
            <a:solidFill>
              <a:srgbClr val="FAB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3" name="Rounded Rectangle 12">
              <a:extLst>
                <a:ext uri="{FF2B5EF4-FFF2-40B4-BE49-F238E27FC236}">
                  <a16:creationId xmlns:a16="http://schemas.microsoft.com/office/drawing/2014/main" id="{09BB9EEB-1A4A-45E1-B4A4-9F02EDE642B0}"/>
                </a:ext>
              </a:extLst>
            </p:cNvPr>
            <p:cNvSpPr/>
            <p:nvPr/>
          </p:nvSpPr>
          <p:spPr>
            <a:xfrm rot="2700000">
              <a:off x="3865325" y="1569399"/>
              <a:ext cx="955838" cy="955841"/>
            </a:xfrm>
            <a:prstGeom prst="roundRect">
              <a:avLst>
                <a:gd name="adj" fmla="val 9009"/>
              </a:avLst>
            </a:prstGeom>
            <a:solidFill>
              <a:schemeClr val="bg1"/>
            </a:solidFill>
            <a:ln w="63500">
              <a:solidFill>
                <a:srgbClr val="FAB8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4" name="Rounded Rectangle 20">
              <a:extLst>
                <a:ext uri="{FF2B5EF4-FFF2-40B4-BE49-F238E27FC236}">
                  <a16:creationId xmlns:a16="http://schemas.microsoft.com/office/drawing/2014/main" id="{3C0FB5F7-335E-45EA-9888-2D6F8AE82F68}"/>
                </a:ext>
              </a:extLst>
            </p:cNvPr>
            <p:cNvSpPr/>
            <p:nvPr/>
          </p:nvSpPr>
          <p:spPr>
            <a:xfrm rot="2700000">
              <a:off x="4135189" y="4487624"/>
              <a:ext cx="955838" cy="955842"/>
            </a:xfrm>
            <a:prstGeom prst="roundRect">
              <a:avLst>
                <a:gd name="adj" fmla="val 900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5" name="Rounded Rectangle 21">
              <a:extLst>
                <a:ext uri="{FF2B5EF4-FFF2-40B4-BE49-F238E27FC236}">
                  <a16:creationId xmlns:a16="http://schemas.microsoft.com/office/drawing/2014/main" id="{23CAEF86-6583-4705-A989-4EA5FC21B588}"/>
                </a:ext>
              </a:extLst>
            </p:cNvPr>
            <p:cNvSpPr/>
            <p:nvPr/>
          </p:nvSpPr>
          <p:spPr>
            <a:xfrm rot="2700000">
              <a:off x="3865325" y="4487636"/>
              <a:ext cx="955838" cy="955841"/>
            </a:xfrm>
            <a:prstGeom prst="roundRect">
              <a:avLst>
                <a:gd name="adj" fmla="val 9009"/>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6" name="Rounded Rectangle 23">
              <a:extLst>
                <a:ext uri="{FF2B5EF4-FFF2-40B4-BE49-F238E27FC236}">
                  <a16:creationId xmlns:a16="http://schemas.microsoft.com/office/drawing/2014/main" id="{D929246B-23FD-4818-BA07-B34CAFE311D6}"/>
                </a:ext>
              </a:extLst>
            </p:cNvPr>
            <p:cNvSpPr/>
            <p:nvPr/>
          </p:nvSpPr>
          <p:spPr>
            <a:xfrm rot="18900000" flipH="1">
              <a:off x="6757771" y="3051402"/>
              <a:ext cx="955838" cy="955842"/>
            </a:xfrm>
            <a:prstGeom prst="roundRect">
              <a:avLst>
                <a:gd name="adj" fmla="val 90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7" name="Rounded Rectangle 24">
              <a:extLst>
                <a:ext uri="{FF2B5EF4-FFF2-40B4-BE49-F238E27FC236}">
                  <a16:creationId xmlns:a16="http://schemas.microsoft.com/office/drawing/2014/main" id="{985A3616-F7C2-436E-B9EB-E7FF345B3371}"/>
                </a:ext>
              </a:extLst>
            </p:cNvPr>
            <p:cNvSpPr/>
            <p:nvPr/>
          </p:nvSpPr>
          <p:spPr>
            <a:xfrm rot="18900000" flipH="1">
              <a:off x="7027635" y="3051413"/>
              <a:ext cx="955838" cy="955841"/>
            </a:xfrm>
            <a:prstGeom prst="roundRect">
              <a:avLst>
                <a:gd name="adj" fmla="val 9009"/>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29" name="Rounded Rectangle 26">
              <a:extLst>
                <a:ext uri="{FF2B5EF4-FFF2-40B4-BE49-F238E27FC236}">
                  <a16:creationId xmlns:a16="http://schemas.microsoft.com/office/drawing/2014/main" id="{E3EE9217-AAED-4CDB-A23D-044820401B16}"/>
                </a:ext>
              </a:extLst>
            </p:cNvPr>
            <p:cNvSpPr/>
            <p:nvPr/>
          </p:nvSpPr>
          <p:spPr>
            <a:xfrm rot="18900000" flipH="1">
              <a:off x="6721658" y="1638983"/>
              <a:ext cx="999421" cy="955842"/>
            </a:xfrm>
            <a:prstGeom prst="roundRect">
              <a:avLst>
                <a:gd name="adj" fmla="val 9009"/>
              </a:avLst>
            </a:prstGeom>
            <a:solidFill>
              <a:srgbClr val="3686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30" name="Rounded Rectangle 27">
              <a:extLst>
                <a:ext uri="{FF2B5EF4-FFF2-40B4-BE49-F238E27FC236}">
                  <a16:creationId xmlns:a16="http://schemas.microsoft.com/office/drawing/2014/main" id="{117479EC-E062-4625-9C0C-0C750E8B59B6}"/>
                </a:ext>
              </a:extLst>
            </p:cNvPr>
            <p:cNvSpPr/>
            <p:nvPr/>
          </p:nvSpPr>
          <p:spPr>
            <a:xfrm rot="18900000" flipH="1">
              <a:off x="7027635" y="1623586"/>
              <a:ext cx="955838" cy="955841"/>
            </a:xfrm>
            <a:prstGeom prst="roundRect">
              <a:avLst>
                <a:gd name="adj" fmla="val 9009"/>
              </a:avLst>
            </a:prstGeom>
            <a:solidFill>
              <a:schemeClr val="bg1"/>
            </a:solidFill>
            <a:ln w="63500">
              <a:solidFill>
                <a:srgbClr val="3686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31" name="Rounded Rectangle 29">
              <a:extLst>
                <a:ext uri="{FF2B5EF4-FFF2-40B4-BE49-F238E27FC236}">
                  <a16:creationId xmlns:a16="http://schemas.microsoft.com/office/drawing/2014/main" id="{FA81BC71-ABA3-42C1-8772-2516C969C1A1}"/>
                </a:ext>
              </a:extLst>
            </p:cNvPr>
            <p:cNvSpPr/>
            <p:nvPr/>
          </p:nvSpPr>
          <p:spPr>
            <a:xfrm rot="18900000" flipH="1">
              <a:off x="6757771" y="4541812"/>
              <a:ext cx="955838" cy="955842"/>
            </a:xfrm>
            <a:prstGeom prst="roundRect">
              <a:avLst>
                <a:gd name="adj" fmla="val 9009"/>
              </a:avLst>
            </a:prstGeom>
            <a:solidFill>
              <a:srgbClr val="3A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32" name="Rounded Rectangle 30">
              <a:extLst>
                <a:ext uri="{FF2B5EF4-FFF2-40B4-BE49-F238E27FC236}">
                  <a16:creationId xmlns:a16="http://schemas.microsoft.com/office/drawing/2014/main" id="{88391028-4110-47D2-8477-14572AAEC70D}"/>
                </a:ext>
              </a:extLst>
            </p:cNvPr>
            <p:cNvSpPr/>
            <p:nvPr/>
          </p:nvSpPr>
          <p:spPr>
            <a:xfrm rot="18900000" flipH="1">
              <a:off x="7014797" y="4513170"/>
              <a:ext cx="1002975" cy="1030000"/>
            </a:xfrm>
            <a:prstGeom prst="roundRect">
              <a:avLst>
                <a:gd name="adj" fmla="val 9009"/>
              </a:avLst>
            </a:prstGeom>
            <a:solidFill>
              <a:schemeClr val="bg1"/>
            </a:solidFill>
            <a:ln w="63500">
              <a:solidFill>
                <a:srgbClr val="3A5C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grpSp>
          <p:nvGrpSpPr>
            <p:cNvPr id="33" name="Group 32">
              <a:extLst>
                <a:ext uri="{FF2B5EF4-FFF2-40B4-BE49-F238E27FC236}">
                  <a16:creationId xmlns:a16="http://schemas.microsoft.com/office/drawing/2014/main" id="{D86F3CA3-E040-452D-BCB5-F7A33F05E294}"/>
                </a:ext>
              </a:extLst>
            </p:cNvPr>
            <p:cNvGrpSpPr/>
            <p:nvPr/>
          </p:nvGrpSpPr>
          <p:grpSpPr>
            <a:xfrm>
              <a:off x="5885523" y="1562412"/>
              <a:ext cx="68958" cy="3877695"/>
              <a:chOff x="4304926" y="2101029"/>
              <a:chExt cx="68958" cy="3877695"/>
            </a:xfrm>
          </p:grpSpPr>
          <p:sp>
            <p:nvSpPr>
              <p:cNvPr id="60" name="Rectangle 59">
                <a:extLst>
                  <a:ext uri="{FF2B5EF4-FFF2-40B4-BE49-F238E27FC236}">
                    <a16:creationId xmlns:a16="http://schemas.microsoft.com/office/drawing/2014/main" id="{260F2A48-D8BB-4BF2-8A1D-C9496723EC22}"/>
                  </a:ext>
                </a:extLst>
              </p:cNvPr>
              <p:cNvSpPr/>
              <p:nvPr/>
            </p:nvSpPr>
            <p:spPr>
              <a:xfrm>
                <a:off x="4304926" y="2101029"/>
                <a:ext cx="68958"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61" name="Rectangle 60">
                <a:extLst>
                  <a:ext uri="{FF2B5EF4-FFF2-40B4-BE49-F238E27FC236}">
                    <a16:creationId xmlns:a16="http://schemas.microsoft.com/office/drawing/2014/main" id="{FEB9794F-7407-40D0-9E66-F5F07BC2E58C}"/>
                  </a:ext>
                </a:extLst>
              </p:cNvPr>
              <p:cNvSpPr/>
              <p:nvPr/>
            </p:nvSpPr>
            <p:spPr>
              <a:xfrm>
                <a:off x="4304926" y="4034580"/>
                <a:ext cx="68958" cy="6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62" name="Rectangle 61">
                <a:extLst>
                  <a:ext uri="{FF2B5EF4-FFF2-40B4-BE49-F238E27FC236}">
                    <a16:creationId xmlns:a16="http://schemas.microsoft.com/office/drawing/2014/main" id="{D6C5F9D6-C3FA-4CC8-A748-A07D3A549371}"/>
                  </a:ext>
                </a:extLst>
              </p:cNvPr>
              <p:cNvSpPr/>
              <p:nvPr/>
            </p:nvSpPr>
            <p:spPr>
              <a:xfrm>
                <a:off x="4304926" y="3387333"/>
                <a:ext cx="68958" cy="64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63" name="Rectangle 62">
                <a:extLst>
                  <a:ext uri="{FF2B5EF4-FFF2-40B4-BE49-F238E27FC236}">
                    <a16:creationId xmlns:a16="http://schemas.microsoft.com/office/drawing/2014/main" id="{7E83B0C4-5F60-41C4-A640-B045439DFD3E}"/>
                  </a:ext>
                </a:extLst>
              </p:cNvPr>
              <p:cNvSpPr/>
              <p:nvPr/>
            </p:nvSpPr>
            <p:spPr>
              <a:xfrm>
                <a:off x="4304926" y="2737102"/>
                <a:ext cx="68958" cy="64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64" name="Rectangle 63">
                <a:extLst>
                  <a:ext uri="{FF2B5EF4-FFF2-40B4-BE49-F238E27FC236}">
                    <a16:creationId xmlns:a16="http://schemas.microsoft.com/office/drawing/2014/main" id="{92B11760-9218-4280-A00A-740A7B493468}"/>
                  </a:ext>
                </a:extLst>
              </p:cNvPr>
              <p:cNvSpPr/>
              <p:nvPr/>
            </p:nvSpPr>
            <p:spPr>
              <a:xfrm>
                <a:off x="4304926" y="5330724"/>
                <a:ext cx="68958" cy="64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sp>
            <p:nvSpPr>
              <p:cNvPr id="65" name="Rectangle 64">
                <a:extLst>
                  <a:ext uri="{FF2B5EF4-FFF2-40B4-BE49-F238E27FC236}">
                    <a16:creationId xmlns:a16="http://schemas.microsoft.com/office/drawing/2014/main" id="{59B57F3E-7114-4870-ADE2-46CCE8419039}"/>
                  </a:ext>
                </a:extLst>
              </p:cNvPr>
              <p:cNvSpPr/>
              <p:nvPr/>
            </p:nvSpPr>
            <p:spPr>
              <a:xfrm>
                <a:off x="4304926" y="4682652"/>
                <a:ext cx="68958" cy="64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00">
                  <a:latin typeface="Times New Roman" panose="02020603050405020304" pitchFamily="18" charset="0"/>
                  <a:cs typeface="Times New Roman" panose="02020603050405020304" pitchFamily="18" charset="0"/>
                </a:endParaRPr>
              </a:p>
            </p:txBody>
          </p:sp>
        </p:grpSp>
        <p:cxnSp>
          <p:nvCxnSpPr>
            <p:cNvPr id="34" name="Straight Connector 33">
              <a:extLst>
                <a:ext uri="{FF2B5EF4-FFF2-40B4-BE49-F238E27FC236}">
                  <a16:creationId xmlns:a16="http://schemas.microsoft.com/office/drawing/2014/main" id="{7E53492B-ACDA-4F09-AD38-84575197A3D6}"/>
                </a:ext>
              </a:extLst>
            </p:cNvPr>
            <p:cNvCxnSpPr/>
            <p:nvPr/>
          </p:nvCxnSpPr>
          <p:spPr>
            <a:xfrm>
              <a:off x="6071916" y="2506157"/>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F58F891-B48B-4527-B6A6-7D9219A0C7A6}"/>
                </a:ext>
              </a:extLst>
            </p:cNvPr>
            <p:cNvCxnSpPr/>
            <p:nvPr/>
          </p:nvCxnSpPr>
          <p:spPr>
            <a:xfrm>
              <a:off x="6140414" y="3824959"/>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5CE071C-3EFC-4126-8CE4-F3215C6ED7AE}"/>
                </a:ext>
              </a:extLst>
            </p:cNvPr>
            <p:cNvCxnSpPr/>
            <p:nvPr/>
          </p:nvCxnSpPr>
          <p:spPr>
            <a:xfrm>
              <a:off x="6140414" y="5152552"/>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A446B06-A3F8-47CA-9DEB-B234E51488E8}"/>
                </a:ext>
              </a:extLst>
            </p:cNvPr>
            <p:cNvCxnSpPr/>
            <p:nvPr/>
          </p:nvCxnSpPr>
          <p:spPr>
            <a:xfrm>
              <a:off x="5315889" y="1846756"/>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E9C21E-C443-46A6-A037-71A0EEE36F92}"/>
                </a:ext>
              </a:extLst>
            </p:cNvPr>
            <p:cNvCxnSpPr/>
            <p:nvPr/>
          </p:nvCxnSpPr>
          <p:spPr>
            <a:xfrm>
              <a:off x="5358011" y="3165558"/>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F857D1C-D17C-4B9E-ABA2-A0FA023E3406}"/>
                </a:ext>
              </a:extLst>
            </p:cNvPr>
            <p:cNvCxnSpPr/>
            <p:nvPr/>
          </p:nvCxnSpPr>
          <p:spPr>
            <a:xfrm>
              <a:off x="5358011" y="4484360"/>
              <a:ext cx="360040" cy="0"/>
            </a:xfrm>
            <a:prstGeom prst="line">
              <a:avLst/>
            </a:prstGeom>
            <a:ln w="19050">
              <a:solidFill>
                <a:schemeClr val="bg1">
                  <a:lumMod val="75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CAAD6E0-EEFD-48EA-8A8E-D84C2632DD62}"/>
                </a:ext>
              </a:extLst>
            </p:cNvPr>
            <p:cNvSpPr txBox="1"/>
            <p:nvPr/>
          </p:nvSpPr>
          <p:spPr>
            <a:xfrm>
              <a:off x="8250313" y="1580311"/>
              <a:ext cx="2789803" cy="971699"/>
            </a:xfrm>
            <a:prstGeom prst="rect">
              <a:avLst/>
            </a:prstGeom>
            <a:noFill/>
          </p:spPr>
          <p:txBody>
            <a:bodyPr wrap="square" rtlCol="0">
              <a:spAutoFit/>
            </a:bodyPr>
            <a:lstStyle/>
            <a:p>
              <a:pPr algn="just"/>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ịc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à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iệ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in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hoạt</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hử</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ghiệ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ạ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EVNGENCO 3,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án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giá</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hiệu</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quả</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2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ă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sau</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ó</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áp</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dụ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rộ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rã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EVN</a:t>
              </a:r>
            </a:p>
          </p:txBody>
        </p:sp>
        <p:sp>
          <p:nvSpPr>
            <p:cNvPr id="49" name="TextBox 48">
              <a:extLst>
                <a:ext uri="{FF2B5EF4-FFF2-40B4-BE49-F238E27FC236}">
                  <a16:creationId xmlns:a16="http://schemas.microsoft.com/office/drawing/2014/main" id="{AC2FB996-C680-4D2E-B99D-077CF904BD48}"/>
                </a:ext>
              </a:extLst>
            </p:cNvPr>
            <p:cNvSpPr txBox="1"/>
            <p:nvPr/>
          </p:nvSpPr>
          <p:spPr>
            <a:xfrm>
              <a:off x="781038" y="1544931"/>
              <a:ext cx="2891331" cy="971699"/>
            </a:xfrm>
            <a:prstGeom prst="rect">
              <a:avLst/>
            </a:prstGeom>
            <a:noFill/>
          </p:spPr>
          <p:txBody>
            <a:bodyPr wrap="square" rtlCol="0">
              <a:spAutoFit/>
            </a:bodyPr>
            <a:lstStyle/>
            <a:p>
              <a:pPr algn="just"/>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EVN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ổ</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ứ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khoá</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gườ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lao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ộ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à</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CBNV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ủ</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ă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lực,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ó</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iế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ớ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hơ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90%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à</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a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giớ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a:t>
              </a:r>
            </a:p>
          </p:txBody>
        </p:sp>
        <p:sp>
          <p:nvSpPr>
            <p:cNvPr id="50" name="Rounded Rectangle 10">
              <a:extLst>
                <a:ext uri="{FF2B5EF4-FFF2-40B4-BE49-F238E27FC236}">
                  <a16:creationId xmlns:a16="http://schemas.microsoft.com/office/drawing/2014/main" id="{450E5427-3054-42EC-BF9C-0A3E08D8C0F8}"/>
                </a:ext>
              </a:extLst>
            </p:cNvPr>
            <p:cNvSpPr/>
            <p:nvPr/>
          </p:nvSpPr>
          <p:spPr>
            <a:xfrm>
              <a:off x="4206605" y="4815076"/>
              <a:ext cx="270202" cy="357582"/>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51" name="Rounded Rectangle 6">
              <a:extLst>
                <a:ext uri="{FF2B5EF4-FFF2-40B4-BE49-F238E27FC236}">
                  <a16:creationId xmlns:a16="http://schemas.microsoft.com/office/drawing/2014/main" id="{879B73C4-F8C5-4114-AB2A-55F3A4CACE18}"/>
                </a:ext>
              </a:extLst>
            </p:cNvPr>
            <p:cNvSpPr/>
            <p:nvPr/>
          </p:nvSpPr>
          <p:spPr>
            <a:xfrm>
              <a:off x="4165568" y="3342335"/>
              <a:ext cx="367837" cy="373975"/>
            </a:xfrm>
            <a:custGeom>
              <a:avLst/>
              <a:gdLst/>
              <a:ahLst/>
              <a:cxnLst/>
              <a:rect l="l" t="t" r="r" b="b"/>
              <a:pathLst>
                <a:path w="3186824" h="3060919">
                  <a:moveTo>
                    <a:pt x="1045874" y="2696689"/>
                  </a:moveTo>
                  <a:lnTo>
                    <a:pt x="2125874" y="2696689"/>
                  </a:lnTo>
                  <a:lnTo>
                    <a:pt x="2125874" y="2804689"/>
                  </a:lnTo>
                  <a:lnTo>
                    <a:pt x="1045874" y="2804689"/>
                  </a:lnTo>
                  <a:close/>
                  <a:moveTo>
                    <a:pt x="1045874" y="2410468"/>
                  </a:moveTo>
                  <a:lnTo>
                    <a:pt x="2125874" y="2410468"/>
                  </a:lnTo>
                  <a:lnTo>
                    <a:pt x="2125874" y="2518468"/>
                  </a:lnTo>
                  <a:lnTo>
                    <a:pt x="1045874" y="2518468"/>
                  </a:lnTo>
                  <a:close/>
                  <a:moveTo>
                    <a:pt x="1045874" y="2124247"/>
                  </a:moveTo>
                  <a:lnTo>
                    <a:pt x="2125874" y="2124247"/>
                  </a:lnTo>
                  <a:lnTo>
                    <a:pt x="2125874" y="2232247"/>
                  </a:lnTo>
                  <a:lnTo>
                    <a:pt x="1045874" y="2232247"/>
                  </a:lnTo>
                  <a:close/>
                  <a:moveTo>
                    <a:pt x="902547" y="1956791"/>
                  </a:moveTo>
                  <a:lnTo>
                    <a:pt x="902547" y="2109191"/>
                  </a:lnTo>
                  <a:lnTo>
                    <a:pt x="902547" y="2185391"/>
                  </a:lnTo>
                  <a:lnTo>
                    <a:pt x="902547" y="2376263"/>
                  </a:lnTo>
                  <a:lnTo>
                    <a:pt x="902547" y="2973921"/>
                  </a:lnTo>
                  <a:lnTo>
                    <a:pt x="2284277" y="2973921"/>
                  </a:lnTo>
                  <a:lnTo>
                    <a:pt x="2284277" y="2376263"/>
                  </a:lnTo>
                  <a:lnTo>
                    <a:pt x="2284277" y="2185391"/>
                  </a:lnTo>
                  <a:lnTo>
                    <a:pt x="2284277" y="2109191"/>
                  </a:lnTo>
                  <a:lnTo>
                    <a:pt x="2284277" y="1956791"/>
                  </a:lnTo>
                  <a:close/>
                  <a:moveTo>
                    <a:pt x="469172" y="1728191"/>
                  </a:moveTo>
                  <a:lnTo>
                    <a:pt x="469172" y="2185391"/>
                  </a:lnTo>
                  <a:lnTo>
                    <a:pt x="767127" y="2185391"/>
                  </a:lnTo>
                  <a:lnTo>
                    <a:pt x="767127" y="2109191"/>
                  </a:lnTo>
                  <a:lnTo>
                    <a:pt x="545372" y="2109191"/>
                  </a:lnTo>
                  <a:lnTo>
                    <a:pt x="545372" y="1804391"/>
                  </a:lnTo>
                  <a:lnTo>
                    <a:pt x="2641452" y="1804391"/>
                  </a:lnTo>
                  <a:lnTo>
                    <a:pt x="2641452" y="2109191"/>
                  </a:lnTo>
                  <a:lnTo>
                    <a:pt x="2419697" y="2109191"/>
                  </a:lnTo>
                  <a:lnTo>
                    <a:pt x="2419697" y="2185391"/>
                  </a:lnTo>
                  <a:lnTo>
                    <a:pt x="2717652" y="2185391"/>
                  </a:lnTo>
                  <a:lnTo>
                    <a:pt x="2717652" y="1728191"/>
                  </a:lnTo>
                  <a:close/>
                  <a:moveTo>
                    <a:pt x="2819005" y="1350909"/>
                  </a:moveTo>
                  <a:cubicBezTo>
                    <a:pt x="2769294" y="1350909"/>
                    <a:pt x="2728995" y="1391208"/>
                    <a:pt x="2728995" y="1440919"/>
                  </a:cubicBezTo>
                  <a:cubicBezTo>
                    <a:pt x="2728995" y="1490630"/>
                    <a:pt x="2769294" y="1530929"/>
                    <a:pt x="2819005" y="1530929"/>
                  </a:cubicBezTo>
                  <a:cubicBezTo>
                    <a:pt x="2868716" y="1530929"/>
                    <a:pt x="2909015" y="1490630"/>
                    <a:pt x="2909015" y="1440919"/>
                  </a:cubicBezTo>
                  <a:cubicBezTo>
                    <a:pt x="2909015" y="1391208"/>
                    <a:pt x="2868716" y="1350909"/>
                    <a:pt x="2819005" y="1350909"/>
                  </a:cubicBezTo>
                  <a:close/>
                  <a:moveTo>
                    <a:pt x="2509707" y="1350909"/>
                  </a:moveTo>
                  <a:cubicBezTo>
                    <a:pt x="2459996" y="1350909"/>
                    <a:pt x="2419697" y="1391208"/>
                    <a:pt x="2419697" y="1440919"/>
                  </a:cubicBezTo>
                  <a:cubicBezTo>
                    <a:pt x="2419697" y="1490630"/>
                    <a:pt x="2459996" y="1530929"/>
                    <a:pt x="2509707" y="1530929"/>
                  </a:cubicBezTo>
                  <a:cubicBezTo>
                    <a:pt x="2559418" y="1530929"/>
                    <a:pt x="2599717" y="1490630"/>
                    <a:pt x="2599717" y="1440919"/>
                  </a:cubicBezTo>
                  <a:cubicBezTo>
                    <a:pt x="2599717" y="1391208"/>
                    <a:pt x="2559418" y="1350909"/>
                    <a:pt x="2509707" y="1350909"/>
                  </a:cubicBezTo>
                  <a:close/>
                  <a:moveTo>
                    <a:pt x="195993" y="1200328"/>
                  </a:moveTo>
                  <a:lnTo>
                    <a:pt x="2990831" y="1200328"/>
                  </a:lnTo>
                  <a:cubicBezTo>
                    <a:pt x="3099075" y="1200328"/>
                    <a:pt x="3186824" y="1288077"/>
                    <a:pt x="3186824" y="1396321"/>
                  </a:cubicBezTo>
                  <a:lnTo>
                    <a:pt x="3186824" y="2180270"/>
                  </a:lnTo>
                  <a:cubicBezTo>
                    <a:pt x="3186824" y="2288514"/>
                    <a:pt x="3099075" y="2376263"/>
                    <a:pt x="2990831" y="2376263"/>
                  </a:cubicBezTo>
                  <a:lnTo>
                    <a:pt x="2419697" y="2376263"/>
                  </a:lnTo>
                  <a:lnTo>
                    <a:pt x="2419697" y="3060919"/>
                  </a:lnTo>
                  <a:lnTo>
                    <a:pt x="767127" y="3060919"/>
                  </a:lnTo>
                  <a:lnTo>
                    <a:pt x="767127" y="2376263"/>
                  </a:lnTo>
                  <a:lnTo>
                    <a:pt x="195993" y="2376263"/>
                  </a:lnTo>
                  <a:cubicBezTo>
                    <a:pt x="87749" y="2376263"/>
                    <a:pt x="0" y="2288514"/>
                    <a:pt x="0" y="2180270"/>
                  </a:cubicBezTo>
                  <a:lnTo>
                    <a:pt x="0" y="1396321"/>
                  </a:lnTo>
                  <a:cubicBezTo>
                    <a:pt x="0" y="1288077"/>
                    <a:pt x="87749" y="1200328"/>
                    <a:pt x="195993" y="1200328"/>
                  </a:cubicBezTo>
                  <a:close/>
                  <a:moveTo>
                    <a:pt x="767127" y="0"/>
                  </a:moveTo>
                  <a:lnTo>
                    <a:pt x="2419697" y="0"/>
                  </a:lnTo>
                  <a:lnTo>
                    <a:pt x="2419697" y="190589"/>
                  </a:lnTo>
                  <a:lnTo>
                    <a:pt x="2565249" y="190589"/>
                  </a:lnTo>
                  <a:cubicBezTo>
                    <a:pt x="2649419" y="190589"/>
                    <a:pt x="2717652" y="258822"/>
                    <a:pt x="2717652" y="342992"/>
                  </a:cubicBezTo>
                  <a:lnTo>
                    <a:pt x="2717652" y="1104989"/>
                  </a:lnTo>
                  <a:lnTo>
                    <a:pt x="2284277" y="1104989"/>
                  </a:lnTo>
                  <a:lnTo>
                    <a:pt x="2284277" y="1104128"/>
                  </a:lnTo>
                  <a:lnTo>
                    <a:pt x="2284277" y="190589"/>
                  </a:lnTo>
                  <a:lnTo>
                    <a:pt x="2284277" y="96523"/>
                  </a:lnTo>
                  <a:lnTo>
                    <a:pt x="902547" y="96523"/>
                  </a:lnTo>
                  <a:lnTo>
                    <a:pt x="902547" y="190589"/>
                  </a:lnTo>
                  <a:lnTo>
                    <a:pt x="902547" y="1104128"/>
                  </a:lnTo>
                  <a:lnTo>
                    <a:pt x="902547" y="1104989"/>
                  </a:lnTo>
                  <a:lnTo>
                    <a:pt x="469172" y="1104989"/>
                  </a:lnTo>
                  <a:lnTo>
                    <a:pt x="469172" y="342992"/>
                  </a:lnTo>
                  <a:cubicBezTo>
                    <a:pt x="469172" y="258822"/>
                    <a:pt x="537405" y="190589"/>
                    <a:pt x="621575" y="190589"/>
                  </a:cubicBezTo>
                  <a:lnTo>
                    <a:pt x="767127" y="190589"/>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52" name="Rectangle 16">
              <a:extLst>
                <a:ext uri="{FF2B5EF4-FFF2-40B4-BE49-F238E27FC236}">
                  <a16:creationId xmlns:a16="http://schemas.microsoft.com/office/drawing/2014/main" id="{3983348A-7F54-4054-A241-A01F127E4B92}"/>
                </a:ext>
              </a:extLst>
            </p:cNvPr>
            <p:cNvSpPr/>
            <p:nvPr/>
          </p:nvSpPr>
          <p:spPr>
            <a:xfrm rot="2700000">
              <a:off x="7408596" y="3287400"/>
              <a:ext cx="282704" cy="50683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53" name="Rounded Rectangle 5">
              <a:extLst>
                <a:ext uri="{FF2B5EF4-FFF2-40B4-BE49-F238E27FC236}">
                  <a16:creationId xmlns:a16="http://schemas.microsoft.com/office/drawing/2014/main" id="{BBB97980-026B-4A72-A027-B20BD7F00C35}"/>
                </a:ext>
              </a:extLst>
            </p:cNvPr>
            <p:cNvSpPr/>
            <p:nvPr/>
          </p:nvSpPr>
          <p:spPr>
            <a:xfrm flipH="1">
              <a:off x="7297351" y="1959556"/>
              <a:ext cx="416405" cy="343509"/>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54" name="Teardrop 1">
              <a:extLst>
                <a:ext uri="{FF2B5EF4-FFF2-40B4-BE49-F238E27FC236}">
                  <a16:creationId xmlns:a16="http://schemas.microsoft.com/office/drawing/2014/main" id="{A7C8D94F-496A-4058-9B2C-6F6E119EEA8A}"/>
                </a:ext>
              </a:extLst>
            </p:cNvPr>
            <p:cNvSpPr/>
            <p:nvPr/>
          </p:nvSpPr>
          <p:spPr>
            <a:xfrm rot="18805991">
              <a:off x="7302085" y="4766503"/>
              <a:ext cx="400649" cy="396469"/>
            </a:xfrm>
            <a:custGeom>
              <a:avLst/>
              <a:gdLst/>
              <a:ahLst/>
              <a:cxnLst/>
              <a:rect l="l" t="t" r="r" b="b"/>
              <a:pathLst>
                <a:path w="1807241" h="1788383">
                  <a:moveTo>
                    <a:pt x="712876" y="1117592"/>
                  </a:moveTo>
                  <a:cubicBezTo>
                    <a:pt x="771173" y="1181828"/>
                    <a:pt x="811089" y="1255910"/>
                    <a:pt x="847925" y="1348018"/>
                  </a:cubicBezTo>
                  <a:cubicBezTo>
                    <a:pt x="814544" y="1418896"/>
                    <a:pt x="753893" y="1474052"/>
                    <a:pt x="679064" y="1498332"/>
                  </a:cubicBezTo>
                  <a:lnTo>
                    <a:pt x="308226" y="1106637"/>
                  </a:lnTo>
                  <a:cubicBezTo>
                    <a:pt x="336560" y="1033247"/>
                    <a:pt x="394949" y="975701"/>
                    <a:pt x="467546" y="946245"/>
                  </a:cubicBezTo>
                  <a:cubicBezTo>
                    <a:pt x="577903" y="998968"/>
                    <a:pt x="654580" y="1053357"/>
                    <a:pt x="712876" y="1117592"/>
                  </a:cubicBezTo>
                  <a:close/>
                  <a:moveTo>
                    <a:pt x="1038527" y="398886"/>
                  </a:moveTo>
                  <a:lnTo>
                    <a:pt x="1405560" y="786562"/>
                  </a:lnTo>
                  <a:cubicBezTo>
                    <a:pt x="1374476" y="799049"/>
                    <a:pt x="1340402" y="804299"/>
                    <a:pt x="1305054" y="803332"/>
                  </a:cubicBezTo>
                  <a:lnTo>
                    <a:pt x="1008167" y="795212"/>
                  </a:lnTo>
                  <a:lnTo>
                    <a:pt x="1016288" y="498325"/>
                  </a:lnTo>
                  <a:cubicBezTo>
                    <a:pt x="1017255" y="462976"/>
                    <a:pt x="1024360" y="429240"/>
                    <a:pt x="1038527" y="398886"/>
                  </a:cubicBezTo>
                  <a:close/>
                  <a:moveTo>
                    <a:pt x="1097925" y="218888"/>
                  </a:moveTo>
                  <a:cubicBezTo>
                    <a:pt x="992582" y="279303"/>
                    <a:pt x="921871" y="392886"/>
                    <a:pt x="921053" y="523256"/>
                  </a:cubicBezTo>
                  <a:lnTo>
                    <a:pt x="919136" y="828763"/>
                  </a:lnTo>
                  <a:lnTo>
                    <a:pt x="830924" y="915875"/>
                  </a:lnTo>
                  <a:lnTo>
                    <a:pt x="525417" y="913958"/>
                  </a:lnTo>
                  <a:cubicBezTo>
                    <a:pt x="403891" y="913196"/>
                    <a:pt x="296188" y="973343"/>
                    <a:pt x="234366" y="1067831"/>
                  </a:cubicBezTo>
                  <a:lnTo>
                    <a:pt x="710285" y="1570519"/>
                  </a:lnTo>
                  <a:cubicBezTo>
                    <a:pt x="811872" y="1510375"/>
                    <a:pt x="878808" y="1399439"/>
                    <a:pt x="879603" y="1272618"/>
                  </a:cubicBezTo>
                  <a:lnTo>
                    <a:pt x="881520" y="967111"/>
                  </a:lnTo>
                  <a:lnTo>
                    <a:pt x="969732" y="879999"/>
                  </a:lnTo>
                  <a:lnTo>
                    <a:pt x="1275239" y="881916"/>
                  </a:lnTo>
                  <a:cubicBezTo>
                    <a:pt x="1400271" y="882701"/>
                    <a:pt x="1510670" y="819011"/>
                    <a:pt x="1573529" y="721242"/>
                  </a:cubicBezTo>
                  <a:close/>
                  <a:moveTo>
                    <a:pt x="1162945" y="27894"/>
                  </a:moveTo>
                  <a:lnTo>
                    <a:pt x="1782798" y="682611"/>
                  </a:lnTo>
                  <a:cubicBezTo>
                    <a:pt x="1816692" y="718411"/>
                    <a:pt x="1815147" y="774907"/>
                    <a:pt x="1779347" y="808801"/>
                  </a:cubicBezTo>
                  <a:cubicBezTo>
                    <a:pt x="1743547" y="842694"/>
                    <a:pt x="1687050" y="841149"/>
                    <a:pt x="1653157" y="805349"/>
                  </a:cubicBezTo>
                  <a:lnTo>
                    <a:pt x="1644015" y="795693"/>
                  </a:lnTo>
                  <a:cubicBezTo>
                    <a:pt x="1561789" y="910282"/>
                    <a:pt x="1426630" y="983636"/>
                    <a:pt x="1274606" y="982683"/>
                  </a:cubicBezTo>
                  <a:lnTo>
                    <a:pt x="980378" y="980836"/>
                  </a:lnTo>
                  <a:lnTo>
                    <a:pt x="980378" y="1270380"/>
                  </a:lnTo>
                  <a:cubicBezTo>
                    <a:pt x="980378" y="1427425"/>
                    <a:pt x="901198" y="1565976"/>
                    <a:pt x="779756" y="1647056"/>
                  </a:cubicBezTo>
                  <a:cubicBezTo>
                    <a:pt x="807405" y="1681913"/>
                    <a:pt x="803595" y="1732594"/>
                    <a:pt x="770486" y="1763941"/>
                  </a:cubicBezTo>
                  <a:cubicBezTo>
                    <a:pt x="734686" y="1797834"/>
                    <a:pt x="678189" y="1796289"/>
                    <a:pt x="644296" y="1760489"/>
                  </a:cubicBezTo>
                  <a:lnTo>
                    <a:pt x="24442" y="1105772"/>
                  </a:lnTo>
                  <a:cubicBezTo>
                    <a:pt x="-9451" y="1069973"/>
                    <a:pt x="-7906" y="1013476"/>
                    <a:pt x="27894" y="979583"/>
                  </a:cubicBezTo>
                  <a:cubicBezTo>
                    <a:pt x="63694" y="945689"/>
                    <a:pt x="120190" y="947235"/>
                    <a:pt x="154084" y="983034"/>
                  </a:cubicBezTo>
                  <a:lnTo>
                    <a:pt x="163237" y="992702"/>
                  </a:lnTo>
                  <a:cubicBezTo>
                    <a:pt x="244774" y="882877"/>
                    <a:pt x="375836" y="813180"/>
                    <a:pt x="523178" y="813180"/>
                  </a:cubicBezTo>
                  <a:lnTo>
                    <a:pt x="818460" y="813180"/>
                  </a:lnTo>
                  <a:lnTo>
                    <a:pt x="820284" y="522622"/>
                  </a:lnTo>
                  <a:cubicBezTo>
                    <a:pt x="821285" y="363119"/>
                    <a:pt x="903845" y="223207"/>
                    <a:pt x="1028952" y="143673"/>
                  </a:cubicBezTo>
                  <a:cubicBezTo>
                    <a:pt x="999689" y="108599"/>
                    <a:pt x="1002953" y="56445"/>
                    <a:pt x="1036755" y="24443"/>
                  </a:cubicBezTo>
                  <a:cubicBezTo>
                    <a:pt x="1072555" y="-9451"/>
                    <a:pt x="1129052" y="-7906"/>
                    <a:pt x="1162945" y="27894"/>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solidFill>
                  <a:schemeClr val="tx1"/>
                </a:solidFill>
                <a:latin typeface="Times New Roman" panose="02020603050405020304" pitchFamily="18" charset="0"/>
                <a:cs typeface="Times New Roman" panose="02020603050405020304" pitchFamily="18" charset="0"/>
              </a:endParaRPr>
            </a:p>
          </p:txBody>
        </p:sp>
        <p:sp>
          <p:nvSpPr>
            <p:cNvPr id="55" name="Rectangle 36">
              <a:extLst>
                <a:ext uri="{FF2B5EF4-FFF2-40B4-BE49-F238E27FC236}">
                  <a16:creationId xmlns:a16="http://schemas.microsoft.com/office/drawing/2014/main" id="{18A2BE60-6E92-4FF1-BBE2-EA18FB64E9D5}"/>
                </a:ext>
              </a:extLst>
            </p:cNvPr>
            <p:cNvSpPr/>
            <p:nvPr/>
          </p:nvSpPr>
          <p:spPr>
            <a:xfrm>
              <a:off x="4135305" y="1857991"/>
              <a:ext cx="413946" cy="346026"/>
            </a:xfrm>
            <a:custGeom>
              <a:avLst/>
              <a:gdLst/>
              <a:ahLst/>
              <a:cxnLst/>
              <a:rect l="l" t="t" r="r" b="b"/>
              <a:pathLst>
                <a:path w="3186824" h="2663936">
                  <a:moveTo>
                    <a:pt x="2624444" y="2376100"/>
                  </a:moveTo>
                  <a:lnTo>
                    <a:pt x="2624444" y="2520100"/>
                  </a:lnTo>
                  <a:lnTo>
                    <a:pt x="2952463" y="2520100"/>
                  </a:lnTo>
                  <a:lnTo>
                    <a:pt x="2952463" y="2376100"/>
                  </a:lnTo>
                  <a:close/>
                  <a:moveTo>
                    <a:pt x="210911" y="2376100"/>
                  </a:moveTo>
                  <a:lnTo>
                    <a:pt x="210911" y="2520100"/>
                  </a:lnTo>
                  <a:lnTo>
                    <a:pt x="538930" y="2520100"/>
                  </a:lnTo>
                  <a:lnTo>
                    <a:pt x="538930" y="2376100"/>
                  </a:lnTo>
                  <a:close/>
                  <a:moveTo>
                    <a:pt x="2624444" y="2095269"/>
                  </a:moveTo>
                  <a:lnTo>
                    <a:pt x="2624444" y="2239269"/>
                  </a:lnTo>
                  <a:lnTo>
                    <a:pt x="2952463" y="2239269"/>
                  </a:lnTo>
                  <a:lnTo>
                    <a:pt x="2952463" y="2095269"/>
                  </a:lnTo>
                  <a:close/>
                  <a:moveTo>
                    <a:pt x="210911" y="2095269"/>
                  </a:moveTo>
                  <a:lnTo>
                    <a:pt x="210911" y="2239269"/>
                  </a:lnTo>
                  <a:lnTo>
                    <a:pt x="538930" y="2239269"/>
                  </a:lnTo>
                  <a:lnTo>
                    <a:pt x="538930" y="2095269"/>
                  </a:lnTo>
                  <a:close/>
                  <a:moveTo>
                    <a:pt x="2624444" y="1814436"/>
                  </a:moveTo>
                  <a:lnTo>
                    <a:pt x="2624444" y="1958436"/>
                  </a:lnTo>
                  <a:lnTo>
                    <a:pt x="2952463" y="1958436"/>
                  </a:lnTo>
                  <a:lnTo>
                    <a:pt x="2952463" y="1814436"/>
                  </a:lnTo>
                  <a:close/>
                  <a:moveTo>
                    <a:pt x="210911" y="1814436"/>
                  </a:moveTo>
                  <a:lnTo>
                    <a:pt x="210911" y="1958436"/>
                  </a:lnTo>
                  <a:lnTo>
                    <a:pt x="538930" y="1958436"/>
                  </a:lnTo>
                  <a:lnTo>
                    <a:pt x="538930" y="1814436"/>
                  </a:lnTo>
                  <a:close/>
                  <a:moveTo>
                    <a:pt x="2624444" y="1533603"/>
                  </a:moveTo>
                  <a:lnTo>
                    <a:pt x="2624444" y="1677603"/>
                  </a:lnTo>
                  <a:lnTo>
                    <a:pt x="2952463" y="1677603"/>
                  </a:lnTo>
                  <a:lnTo>
                    <a:pt x="2952463" y="1533603"/>
                  </a:lnTo>
                  <a:close/>
                  <a:moveTo>
                    <a:pt x="210911" y="1533603"/>
                  </a:moveTo>
                  <a:lnTo>
                    <a:pt x="210911" y="1677603"/>
                  </a:lnTo>
                  <a:lnTo>
                    <a:pt x="538930" y="1677603"/>
                  </a:lnTo>
                  <a:lnTo>
                    <a:pt x="538930" y="1533603"/>
                  </a:lnTo>
                  <a:close/>
                  <a:moveTo>
                    <a:pt x="2624444" y="1252770"/>
                  </a:moveTo>
                  <a:lnTo>
                    <a:pt x="2624444" y="1396770"/>
                  </a:lnTo>
                  <a:lnTo>
                    <a:pt x="2952463" y="1396770"/>
                  </a:lnTo>
                  <a:lnTo>
                    <a:pt x="2952463" y="1252770"/>
                  </a:lnTo>
                  <a:close/>
                  <a:moveTo>
                    <a:pt x="210911" y="1252770"/>
                  </a:moveTo>
                  <a:lnTo>
                    <a:pt x="210911" y="1396770"/>
                  </a:lnTo>
                  <a:lnTo>
                    <a:pt x="538930" y="1396770"/>
                  </a:lnTo>
                  <a:lnTo>
                    <a:pt x="538930" y="1252770"/>
                  </a:lnTo>
                  <a:close/>
                  <a:moveTo>
                    <a:pt x="2624444" y="971937"/>
                  </a:moveTo>
                  <a:lnTo>
                    <a:pt x="2624444" y="1115937"/>
                  </a:lnTo>
                  <a:lnTo>
                    <a:pt x="2952463" y="1115937"/>
                  </a:lnTo>
                  <a:lnTo>
                    <a:pt x="2952463" y="971937"/>
                  </a:lnTo>
                  <a:close/>
                  <a:moveTo>
                    <a:pt x="210911" y="971937"/>
                  </a:moveTo>
                  <a:lnTo>
                    <a:pt x="210911" y="1115937"/>
                  </a:lnTo>
                  <a:lnTo>
                    <a:pt x="538930" y="1115937"/>
                  </a:lnTo>
                  <a:lnTo>
                    <a:pt x="538930" y="971937"/>
                  </a:lnTo>
                  <a:close/>
                  <a:moveTo>
                    <a:pt x="2624444" y="691104"/>
                  </a:moveTo>
                  <a:lnTo>
                    <a:pt x="2624444" y="835104"/>
                  </a:lnTo>
                  <a:lnTo>
                    <a:pt x="2952463" y="835104"/>
                  </a:lnTo>
                  <a:lnTo>
                    <a:pt x="2952463" y="691104"/>
                  </a:lnTo>
                  <a:close/>
                  <a:moveTo>
                    <a:pt x="210911" y="691104"/>
                  </a:moveTo>
                  <a:lnTo>
                    <a:pt x="210911" y="835104"/>
                  </a:lnTo>
                  <a:lnTo>
                    <a:pt x="538930" y="835104"/>
                  </a:lnTo>
                  <a:lnTo>
                    <a:pt x="538930" y="691104"/>
                  </a:lnTo>
                  <a:close/>
                  <a:moveTo>
                    <a:pt x="988006" y="552354"/>
                  </a:moveTo>
                  <a:lnTo>
                    <a:pt x="988006" y="2111583"/>
                  </a:lnTo>
                  <a:lnTo>
                    <a:pt x="2332169" y="1331969"/>
                  </a:lnTo>
                  <a:close/>
                  <a:moveTo>
                    <a:pt x="2624444" y="410271"/>
                  </a:moveTo>
                  <a:lnTo>
                    <a:pt x="2624444" y="554271"/>
                  </a:lnTo>
                  <a:lnTo>
                    <a:pt x="2952463" y="554271"/>
                  </a:lnTo>
                  <a:lnTo>
                    <a:pt x="2952463" y="410271"/>
                  </a:lnTo>
                  <a:close/>
                  <a:moveTo>
                    <a:pt x="210911" y="410271"/>
                  </a:moveTo>
                  <a:lnTo>
                    <a:pt x="210911" y="554271"/>
                  </a:lnTo>
                  <a:lnTo>
                    <a:pt x="538930" y="554271"/>
                  </a:lnTo>
                  <a:lnTo>
                    <a:pt x="538930" y="410271"/>
                  </a:lnTo>
                  <a:close/>
                  <a:moveTo>
                    <a:pt x="2624444" y="129438"/>
                  </a:moveTo>
                  <a:lnTo>
                    <a:pt x="2624444" y="273438"/>
                  </a:lnTo>
                  <a:lnTo>
                    <a:pt x="2952463" y="273438"/>
                  </a:lnTo>
                  <a:lnTo>
                    <a:pt x="2952463" y="129438"/>
                  </a:lnTo>
                  <a:close/>
                  <a:moveTo>
                    <a:pt x="210911" y="129438"/>
                  </a:moveTo>
                  <a:lnTo>
                    <a:pt x="210911" y="273438"/>
                  </a:lnTo>
                  <a:lnTo>
                    <a:pt x="538930" y="273438"/>
                  </a:lnTo>
                  <a:lnTo>
                    <a:pt x="538930" y="129438"/>
                  </a:lnTo>
                  <a:close/>
                  <a:moveTo>
                    <a:pt x="0" y="0"/>
                  </a:moveTo>
                  <a:lnTo>
                    <a:pt x="3186824" y="0"/>
                  </a:lnTo>
                  <a:lnTo>
                    <a:pt x="3186824" y="2663936"/>
                  </a:lnTo>
                  <a:lnTo>
                    <a:pt x="0" y="2663936"/>
                  </a:ln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sz="2000" dirty="0">
                <a:latin typeface="Times New Roman" panose="02020603050405020304" pitchFamily="18" charset="0"/>
                <a:cs typeface="Times New Roman" panose="02020603050405020304" pitchFamily="18" charset="0"/>
              </a:endParaRPr>
            </a:p>
          </p:txBody>
        </p:sp>
        <p:sp>
          <p:nvSpPr>
            <p:cNvPr id="56" name="TextBox 55">
              <a:extLst>
                <a:ext uri="{FF2B5EF4-FFF2-40B4-BE49-F238E27FC236}">
                  <a16:creationId xmlns:a16="http://schemas.microsoft.com/office/drawing/2014/main" id="{43421142-B693-43C0-9CDD-423E30FACC72}"/>
                </a:ext>
              </a:extLst>
            </p:cNvPr>
            <p:cNvSpPr txBox="1"/>
            <p:nvPr/>
          </p:nvSpPr>
          <p:spPr>
            <a:xfrm>
              <a:off x="781038" y="3041048"/>
              <a:ext cx="2891330" cy="971699"/>
            </a:xfrm>
            <a:prstGeom prst="rect">
              <a:avLst/>
            </a:prstGeom>
            <a:noFill/>
          </p:spPr>
          <p:txBody>
            <a:bodyPr wrap="square" rtlCol="0">
              <a:spAutoFit/>
            </a:bodyPr>
            <a:lstStyle/>
            <a:p>
              <a:pPr algn="just"/>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Kế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hoạc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phát</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iể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guồ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hâ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ự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khô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hể</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hiệ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dữ</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iệu</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phâ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íc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ề</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giớ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ì</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ậy</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khó</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xá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ịn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ỷ</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am</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ữ</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mỗ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ủ</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ề</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a:t>
              </a:r>
            </a:p>
          </p:txBody>
        </p:sp>
        <p:sp>
          <p:nvSpPr>
            <p:cNvPr id="57" name="TextBox 56">
              <a:extLst>
                <a:ext uri="{FF2B5EF4-FFF2-40B4-BE49-F238E27FC236}">
                  <a16:creationId xmlns:a16="http://schemas.microsoft.com/office/drawing/2014/main" id="{FE5387A7-6878-43DF-B13E-99DCF4976FA4}"/>
                </a:ext>
              </a:extLst>
            </p:cNvPr>
            <p:cNvSpPr txBox="1"/>
            <p:nvPr/>
          </p:nvSpPr>
          <p:spPr>
            <a:xfrm>
              <a:off x="764828" y="4483239"/>
              <a:ext cx="2883249" cy="971699"/>
            </a:xfrm>
            <a:prstGeom prst="rect">
              <a:avLst/>
            </a:prstGeom>
            <a:noFill/>
          </p:spPr>
          <p:txBody>
            <a:bodyPr wrap="square" rtlCol="0">
              <a:spAutoFit/>
            </a:bodyPr>
            <a:lstStyle/>
            <a:p>
              <a:pPr algn="just"/>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Đào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EVN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xây</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dự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iêu</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í</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ổ</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ứ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uyể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dụ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uyên</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gia</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mỗi</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lĩnh</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vực</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hư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không</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ó</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ỉ</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tiêu</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cho</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500" b="1" dirty="0" err="1">
                  <a:solidFill>
                    <a:schemeClr val="tx1">
                      <a:lumMod val="75000"/>
                      <a:lumOff val="25000"/>
                    </a:schemeClr>
                  </a:solidFill>
                  <a:latin typeface="Times New Roman" panose="02020603050405020304" pitchFamily="18" charset="0"/>
                  <a:cs typeface="Times New Roman" panose="02020603050405020304" pitchFamily="18" charset="0"/>
                </a:rPr>
                <a:t>nữ</a:t>
              </a:r>
              <a:r>
                <a:rPr lang="en-US" altLang="ko-KR" sz="1500" b="1" dirty="0">
                  <a:solidFill>
                    <a:schemeClr val="tx1">
                      <a:lumMod val="75000"/>
                      <a:lumOff val="25000"/>
                    </a:schemeClr>
                  </a:solidFill>
                  <a:latin typeface="Times New Roman" panose="02020603050405020304" pitchFamily="18" charset="0"/>
                  <a:cs typeface="Times New Roman" panose="02020603050405020304" pitchFamily="18" charset="0"/>
                </a:rPr>
                <a:t>.</a:t>
              </a:r>
            </a:p>
          </p:txBody>
        </p:sp>
        <p:sp>
          <p:nvSpPr>
            <p:cNvPr id="58" name="TextBox 57">
              <a:extLst>
                <a:ext uri="{FF2B5EF4-FFF2-40B4-BE49-F238E27FC236}">
                  <a16:creationId xmlns:a16="http://schemas.microsoft.com/office/drawing/2014/main" id="{287F0A86-E062-405F-94F9-E9AF5E239C63}"/>
                </a:ext>
              </a:extLst>
            </p:cNvPr>
            <p:cNvSpPr txBox="1"/>
            <p:nvPr/>
          </p:nvSpPr>
          <p:spPr>
            <a:xfrm>
              <a:off x="8169844" y="2972952"/>
              <a:ext cx="2789802" cy="1118926"/>
            </a:xfrm>
            <a:prstGeom prst="rect">
              <a:avLst/>
            </a:prstGeom>
            <a:noFill/>
          </p:spPr>
          <p:txBody>
            <a:bodyPr wrap="square" rtlCol="0">
              <a:spAutoFit/>
            </a:bodyPr>
            <a:lstStyle/>
            <a:p>
              <a:pPr algn="just"/>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Áp</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dụ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hố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kê</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về</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giới</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ấ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ả</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kế</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hoạch</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ặ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biệ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o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kế</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hoạch</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phá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iể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nguồ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nhâ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lự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ể</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ánh</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giá</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sự</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ải</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hiệ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ủa</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phụ</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nữ</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làm</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ă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ứ</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ề</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xuấ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giải</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pháp</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phù</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hợp</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a:t>
              </a:r>
            </a:p>
          </p:txBody>
        </p:sp>
        <p:sp>
          <p:nvSpPr>
            <p:cNvPr id="59" name="TextBox 58">
              <a:extLst>
                <a:ext uri="{FF2B5EF4-FFF2-40B4-BE49-F238E27FC236}">
                  <a16:creationId xmlns:a16="http://schemas.microsoft.com/office/drawing/2014/main" id="{98132E2A-9707-44C5-B920-E80704C512AE}"/>
                </a:ext>
              </a:extLst>
            </p:cNvPr>
            <p:cNvSpPr txBox="1"/>
            <p:nvPr/>
          </p:nvSpPr>
          <p:spPr>
            <a:xfrm>
              <a:off x="8250312" y="4345415"/>
              <a:ext cx="2789802" cy="1325044"/>
            </a:xfrm>
            <a:prstGeom prst="rect">
              <a:avLst/>
            </a:prstGeom>
            <a:noFill/>
          </p:spPr>
          <p:txBody>
            <a:bodyPr wrap="square" rtlCol="0">
              <a:spAutoFit/>
            </a:bodyPr>
            <a:lstStyle/>
            <a:p>
              <a:pPr algn="just"/>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ặ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mụ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iêu</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ó</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hêm</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CBNV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nữ</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ượ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20%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hươ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ình</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ổ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quát</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và</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5%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hươ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ình</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huyê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gia</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Thông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bá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hô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tin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về</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à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ạ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rộ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rãi</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ập</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ru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vào</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ác</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Ban/</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bộ</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phận</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ó</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tỷ</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lệ</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lao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động</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nữ</a:t>
              </a:r>
              <a:r>
                <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rPr>
                <a:t> </a:t>
              </a:r>
              <a:r>
                <a:rPr lang="en-US" altLang="ko-KR" sz="1400" b="1" dirty="0" err="1">
                  <a:solidFill>
                    <a:schemeClr val="tx1">
                      <a:lumMod val="75000"/>
                      <a:lumOff val="25000"/>
                    </a:schemeClr>
                  </a:solidFill>
                  <a:latin typeface="Times New Roman" panose="02020603050405020304" pitchFamily="18" charset="0"/>
                  <a:cs typeface="Times New Roman" panose="02020603050405020304" pitchFamily="18" charset="0"/>
                </a:rPr>
                <a:t>cao</a:t>
              </a:r>
              <a:endParaRPr lang="en-US" altLang="ko-KR" sz="1400" b="1" dirty="0">
                <a:solidFill>
                  <a:schemeClr val="tx1">
                    <a:lumMod val="75000"/>
                    <a:lumOff val="25000"/>
                  </a:schemeClr>
                </a:solidFill>
                <a:latin typeface="Times New Roman" panose="02020603050405020304" pitchFamily="18" charset="0"/>
                <a:cs typeface="Times New Roman" panose="02020603050405020304" pitchFamily="18" charset="0"/>
              </a:endParaRPr>
            </a:p>
          </p:txBody>
        </p:sp>
      </p:grpSp>
      <p:grpSp>
        <p:nvGrpSpPr>
          <p:cNvPr id="72" name="Google Shape;761;p31">
            <a:extLst>
              <a:ext uri="{FF2B5EF4-FFF2-40B4-BE49-F238E27FC236}">
                <a16:creationId xmlns:a16="http://schemas.microsoft.com/office/drawing/2014/main" id="{3FB0FE75-C04E-4715-AF2D-E55EF235E939}"/>
              </a:ext>
            </a:extLst>
          </p:cNvPr>
          <p:cNvGrpSpPr/>
          <p:nvPr/>
        </p:nvGrpSpPr>
        <p:grpSpPr>
          <a:xfrm>
            <a:off x="2485533" y="1283010"/>
            <a:ext cx="3508867" cy="310000"/>
            <a:chOff x="1864150" y="1230050"/>
            <a:chExt cx="2631650" cy="232500"/>
          </a:xfrm>
        </p:grpSpPr>
        <p:sp>
          <p:nvSpPr>
            <p:cNvPr id="73" name="Google Shape;762;p31">
              <a:extLst>
                <a:ext uri="{FF2B5EF4-FFF2-40B4-BE49-F238E27FC236}">
                  <a16:creationId xmlns:a16="http://schemas.microsoft.com/office/drawing/2014/main" id="{CDF084DD-5A08-4F16-B7FD-4C38F7746993}"/>
                </a:ext>
              </a:extLst>
            </p:cNvPr>
            <p:cNvSpPr txBox="1"/>
            <p:nvPr/>
          </p:nvSpPr>
          <p:spPr>
            <a:xfrm>
              <a:off x="3150000" y="1230050"/>
              <a:ext cx="1345800" cy="232500"/>
            </a:xfrm>
            <a:prstGeom prst="rect">
              <a:avLst/>
            </a:prstGeom>
            <a:noFill/>
            <a:ln>
              <a:noFill/>
            </a:ln>
          </p:spPr>
          <p:txBody>
            <a:bodyPr spcFirstLastPara="1" wrap="square" lIns="121900" tIns="121900" rIns="121900" bIns="121900" anchor="ctr" anchorCtr="0">
              <a:noAutofit/>
            </a:bodyPr>
            <a:lstStyle/>
            <a:p>
              <a:pPr marL="0" marR="0" lvl="0" indent="0" algn="r"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rPr>
                <a:t>2016-2020</a:t>
              </a:r>
              <a:endParaRPr kumimoji="0"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74" name="Google Shape;763;p31">
              <a:extLst>
                <a:ext uri="{FF2B5EF4-FFF2-40B4-BE49-F238E27FC236}">
                  <a16:creationId xmlns:a16="http://schemas.microsoft.com/office/drawing/2014/main" id="{8A247688-AE5C-41C3-9C64-1479288D2BBA}"/>
                </a:ext>
              </a:extLst>
            </p:cNvPr>
            <p:cNvCxnSpPr/>
            <p:nvPr/>
          </p:nvCxnSpPr>
          <p:spPr>
            <a:xfrm rot="10800000">
              <a:off x="1864150" y="1361725"/>
              <a:ext cx="1484100" cy="0"/>
            </a:xfrm>
            <a:prstGeom prst="straightConnector1">
              <a:avLst/>
            </a:prstGeom>
            <a:noFill/>
            <a:ln w="19050" cap="flat" cmpd="sng">
              <a:solidFill>
                <a:srgbClr val="CE4D78"/>
              </a:solidFill>
              <a:prstDash val="solid"/>
              <a:round/>
              <a:headEnd type="none" w="med" len="med"/>
              <a:tailEnd type="triangle" w="med" len="med"/>
            </a:ln>
          </p:spPr>
        </p:cxnSp>
      </p:grpSp>
      <p:grpSp>
        <p:nvGrpSpPr>
          <p:cNvPr id="75" name="Google Shape;764;p31">
            <a:extLst>
              <a:ext uri="{FF2B5EF4-FFF2-40B4-BE49-F238E27FC236}">
                <a16:creationId xmlns:a16="http://schemas.microsoft.com/office/drawing/2014/main" id="{1810235D-7FBF-450E-BCA4-E78033DDA183}"/>
              </a:ext>
            </a:extLst>
          </p:cNvPr>
          <p:cNvGrpSpPr/>
          <p:nvPr/>
        </p:nvGrpSpPr>
        <p:grpSpPr>
          <a:xfrm>
            <a:off x="6207000" y="1283010"/>
            <a:ext cx="3574438" cy="310000"/>
            <a:chOff x="4655250" y="1230050"/>
            <a:chExt cx="2680829" cy="232500"/>
          </a:xfrm>
        </p:grpSpPr>
        <p:sp>
          <p:nvSpPr>
            <p:cNvPr id="76" name="Google Shape;765;p31">
              <a:extLst>
                <a:ext uri="{FF2B5EF4-FFF2-40B4-BE49-F238E27FC236}">
                  <a16:creationId xmlns:a16="http://schemas.microsoft.com/office/drawing/2014/main" id="{BE58C89C-B588-4962-ABC3-1D2D31F9EFF1}"/>
                </a:ext>
              </a:extLst>
            </p:cNvPr>
            <p:cNvSpPr txBox="1"/>
            <p:nvPr/>
          </p:nvSpPr>
          <p:spPr>
            <a:xfrm>
              <a:off x="4655250" y="1230050"/>
              <a:ext cx="1345800" cy="232500"/>
            </a:xfrm>
            <a:prstGeom prst="rect">
              <a:avLst/>
            </a:prstGeom>
            <a:no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rPr>
                <a:t>2021-2025</a:t>
              </a:r>
              <a:endParaRPr kumimoji="0"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77" name="Google Shape;766;p31">
              <a:extLst>
                <a:ext uri="{FF2B5EF4-FFF2-40B4-BE49-F238E27FC236}">
                  <a16:creationId xmlns:a16="http://schemas.microsoft.com/office/drawing/2014/main" id="{EE784555-0CD3-4191-8A33-6C7CC1989E3A}"/>
                </a:ext>
              </a:extLst>
            </p:cNvPr>
            <p:cNvCxnSpPr/>
            <p:nvPr/>
          </p:nvCxnSpPr>
          <p:spPr>
            <a:xfrm>
              <a:off x="5821079" y="1361725"/>
              <a:ext cx="1515000" cy="0"/>
            </a:xfrm>
            <a:prstGeom prst="straightConnector1">
              <a:avLst/>
            </a:prstGeom>
            <a:noFill/>
            <a:ln w="19050" cap="flat" cmpd="sng">
              <a:solidFill>
                <a:srgbClr val="324275"/>
              </a:solidFill>
              <a:prstDash val="solid"/>
              <a:round/>
              <a:headEnd type="none" w="med" len="med"/>
              <a:tailEnd type="triangle" w="med" len="med"/>
            </a:ln>
          </p:spPr>
        </p:cxnSp>
      </p:grpSp>
    </p:spTree>
    <p:extLst>
      <p:ext uri="{BB962C8B-B14F-4D97-AF65-F5344CB8AC3E}">
        <p14:creationId xmlns:p14="http://schemas.microsoft.com/office/powerpoint/2010/main" val="636477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50"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103412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0" y="354292"/>
            <a:ext cx="12191999" cy="5539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rPr>
              <a:t>QUẢN LÝ HIỆU </a:t>
            </a:r>
            <a:r>
              <a:rPr lang="en-US" sz="3000" b="1" dirty="0">
                <a:solidFill>
                  <a:srgbClr val="164397"/>
                </a:solidFill>
                <a:latin typeface="HelveticaBlackVU" panose="00000900000000000000" pitchFamily="2" charset="0"/>
              </a:rPr>
              <a:t>QUẢ</a:t>
            </a:r>
            <a:r>
              <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rPr>
              <a:t>, CHẾ ĐỘ PHÚC LỢI</a:t>
            </a:r>
          </a:p>
        </p:txBody>
      </p:sp>
      <p:sp>
        <p:nvSpPr>
          <p:cNvPr id="13" name="Pentagon 33">
            <a:extLst>
              <a:ext uri="{FF2B5EF4-FFF2-40B4-BE49-F238E27FC236}">
                <a16:creationId xmlns:a16="http://schemas.microsoft.com/office/drawing/2014/main" id="{3CA0678F-3FF5-41DB-90A9-457F5B737067}"/>
              </a:ext>
            </a:extLst>
          </p:cNvPr>
          <p:cNvSpPr/>
          <p:nvPr/>
        </p:nvSpPr>
        <p:spPr bwMode="auto">
          <a:xfrm>
            <a:off x="4815593" y="4175569"/>
            <a:ext cx="900000" cy="900000"/>
          </a:xfrm>
          <a:prstGeom prst="roundRect">
            <a:avLst/>
          </a:prstGeom>
          <a:solidFill>
            <a:srgbClr val="CE4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Pentagon 19">
            <a:extLst>
              <a:ext uri="{FF2B5EF4-FFF2-40B4-BE49-F238E27FC236}">
                <a16:creationId xmlns:a16="http://schemas.microsoft.com/office/drawing/2014/main" id="{62ED6874-1E81-4C74-8E8A-98FCB607C0C1}"/>
              </a:ext>
            </a:extLst>
          </p:cNvPr>
          <p:cNvSpPr/>
          <p:nvPr/>
        </p:nvSpPr>
        <p:spPr bwMode="auto">
          <a:xfrm>
            <a:off x="4815593" y="2995931"/>
            <a:ext cx="900000" cy="900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6" name="Pentagon 26">
            <a:extLst>
              <a:ext uri="{FF2B5EF4-FFF2-40B4-BE49-F238E27FC236}">
                <a16:creationId xmlns:a16="http://schemas.microsoft.com/office/drawing/2014/main" id="{4514177D-C79B-44D4-867D-FDD211CF10A2}"/>
              </a:ext>
            </a:extLst>
          </p:cNvPr>
          <p:cNvSpPr/>
          <p:nvPr/>
        </p:nvSpPr>
        <p:spPr bwMode="auto">
          <a:xfrm>
            <a:off x="4815593" y="1816293"/>
            <a:ext cx="900000" cy="900000"/>
          </a:xfrm>
          <a:prstGeom prst="roundRect">
            <a:avLst/>
          </a:prstGeom>
          <a:solidFill>
            <a:srgbClr val="FAB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7" name="Pentagon 47">
            <a:extLst>
              <a:ext uri="{FF2B5EF4-FFF2-40B4-BE49-F238E27FC236}">
                <a16:creationId xmlns:a16="http://schemas.microsoft.com/office/drawing/2014/main" id="{6EFF8FCB-270D-497E-BF9B-B97B2B538245}"/>
              </a:ext>
            </a:extLst>
          </p:cNvPr>
          <p:cNvSpPr/>
          <p:nvPr/>
        </p:nvSpPr>
        <p:spPr bwMode="auto">
          <a:xfrm>
            <a:off x="4815593" y="5355207"/>
            <a:ext cx="900000" cy="90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8" name="Pentagon 33">
            <a:extLst>
              <a:ext uri="{FF2B5EF4-FFF2-40B4-BE49-F238E27FC236}">
                <a16:creationId xmlns:a16="http://schemas.microsoft.com/office/drawing/2014/main" id="{733AD71E-D483-4C6A-9A08-00020E2533F5}"/>
              </a:ext>
            </a:extLst>
          </p:cNvPr>
          <p:cNvSpPr/>
          <p:nvPr/>
        </p:nvSpPr>
        <p:spPr bwMode="auto">
          <a:xfrm>
            <a:off x="6381157" y="2995931"/>
            <a:ext cx="900000" cy="900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9" name="Pentagon 19">
            <a:extLst>
              <a:ext uri="{FF2B5EF4-FFF2-40B4-BE49-F238E27FC236}">
                <a16:creationId xmlns:a16="http://schemas.microsoft.com/office/drawing/2014/main" id="{5BCAB9CB-4FEE-46FD-9942-4D075CDAD7DE}"/>
              </a:ext>
            </a:extLst>
          </p:cNvPr>
          <p:cNvSpPr/>
          <p:nvPr/>
        </p:nvSpPr>
        <p:spPr bwMode="auto">
          <a:xfrm>
            <a:off x="6381157" y="4175569"/>
            <a:ext cx="900000" cy="900000"/>
          </a:xfrm>
          <a:prstGeom prst="roundRect">
            <a:avLst/>
          </a:prstGeom>
          <a:solidFill>
            <a:srgbClr val="CE4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0" name="Pentagon 26">
            <a:extLst>
              <a:ext uri="{FF2B5EF4-FFF2-40B4-BE49-F238E27FC236}">
                <a16:creationId xmlns:a16="http://schemas.microsoft.com/office/drawing/2014/main" id="{DE257A17-1FF0-4CE5-A04C-BFEC08D98738}"/>
              </a:ext>
            </a:extLst>
          </p:cNvPr>
          <p:cNvSpPr/>
          <p:nvPr/>
        </p:nvSpPr>
        <p:spPr bwMode="auto">
          <a:xfrm>
            <a:off x="6381157" y="5355207"/>
            <a:ext cx="900000" cy="90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1" name="Pentagon 47" descr="{&quot;Key&quot;:&quot;POWER_USER_SHAPE_ICON&quot;,&quot;Value&quot;:&quot;POWER_USER_SHAPE_ICON_STYLE_1&quot;}">
            <a:extLst>
              <a:ext uri="{FF2B5EF4-FFF2-40B4-BE49-F238E27FC236}">
                <a16:creationId xmlns:a16="http://schemas.microsoft.com/office/drawing/2014/main" id="{F8A6BE32-4C7D-4B28-BBF9-7A758B91A8BE}"/>
              </a:ext>
            </a:extLst>
          </p:cNvPr>
          <p:cNvSpPr/>
          <p:nvPr/>
        </p:nvSpPr>
        <p:spPr bwMode="auto">
          <a:xfrm>
            <a:off x="6381157" y="1816293"/>
            <a:ext cx="900000" cy="900000"/>
          </a:xfrm>
          <a:prstGeom prst="roundRect">
            <a:avLst/>
          </a:prstGeom>
          <a:solidFill>
            <a:srgbClr val="FAB8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22" name="Rectangle 21">
            <a:extLst>
              <a:ext uri="{FF2B5EF4-FFF2-40B4-BE49-F238E27FC236}">
                <a16:creationId xmlns:a16="http://schemas.microsoft.com/office/drawing/2014/main" id="{039ACA78-65FC-440B-BDC8-B555ECDB76A8}"/>
              </a:ext>
            </a:extLst>
          </p:cNvPr>
          <p:cNvSpPr/>
          <p:nvPr/>
        </p:nvSpPr>
        <p:spPr bwMode="auto">
          <a:xfrm>
            <a:off x="7364558" y="1816293"/>
            <a:ext cx="4475014"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Hiệu</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chỉnh</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KPI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đánh</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giá</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hiệu</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quả</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công</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việc</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để</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CBNV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tham</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dự</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các</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chương</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trình</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à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ạ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vẫn</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ược</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ánh</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giá</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hiệu</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quả</a:t>
            </a:r>
            <a:r>
              <a:rPr lang="en-US" kern="0" dirty="0">
                <a:solidFill>
                  <a:srgbClr val="FAB847"/>
                </a:solidFill>
                <a:latin typeface="Times New Roman" panose="02020603050405020304" pitchFamily="18" charset="0"/>
                <a:cs typeface="Times New Roman" panose="02020603050405020304" pitchFamily="18" charset="0"/>
              </a:rPr>
              <a:t>.</a:t>
            </a:r>
            <a:endPar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endParaRPr>
          </a:p>
        </p:txBody>
      </p:sp>
      <p:sp>
        <p:nvSpPr>
          <p:cNvPr id="23" name="Rectangle 22">
            <a:extLst>
              <a:ext uri="{FF2B5EF4-FFF2-40B4-BE49-F238E27FC236}">
                <a16:creationId xmlns:a16="http://schemas.microsoft.com/office/drawing/2014/main" id="{0584E528-786A-4B5E-8CE4-28660ACEF2A4}"/>
              </a:ext>
            </a:extLst>
          </p:cNvPr>
          <p:cNvSpPr/>
          <p:nvPr/>
        </p:nvSpPr>
        <p:spPr bwMode="auto">
          <a:xfrm>
            <a:off x="7364557" y="2907402"/>
            <a:ext cx="4614079" cy="1095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riể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ha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á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t</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ộ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bổ</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sung: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Phâ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ích</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ô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bằ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he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giớ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ính</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à</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á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ộ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ủa</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á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quyề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lợ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ii)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ả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hiệ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ăm</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só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sứ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hoẻ</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CBNV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ớ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á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t</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ộ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phù</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hợp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ả</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a</a:t>
            </a:r>
            <a:r>
              <a:rPr lang="en-US" kern="0" dirty="0">
                <a:solidFill>
                  <a:schemeClr val="accent1"/>
                </a:solidFill>
                <a:latin typeface="Times New Roman" panose="02020603050405020304" pitchFamily="18" charset="0"/>
                <a:cs typeface="Times New Roman" panose="02020603050405020304" pitchFamily="18" charset="0"/>
              </a:rPr>
              <a:t>m </a:t>
            </a:r>
            <a:r>
              <a:rPr lang="en-US" kern="0" dirty="0" err="1">
                <a:solidFill>
                  <a:schemeClr val="accent1"/>
                </a:solidFill>
                <a:latin typeface="Times New Roman" panose="02020603050405020304" pitchFamily="18" charset="0"/>
                <a:cs typeface="Times New Roman" panose="02020603050405020304" pitchFamily="18" charset="0"/>
              </a:rPr>
              <a:t>lẫn</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iii)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ả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thiệ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điều</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kiện</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làm</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việc</a:t>
            </a:r>
            <a:r>
              <a:rPr lang="en-US" kern="0" dirty="0">
                <a:solidFill>
                  <a:schemeClr val="accent1"/>
                </a:solidFill>
                <a:latin typeface="Times New Roman" panose="02020603050405020304" pitchFamily="18" charset="0"/>
                <a:cs typeface="Times New Roman" panose="02020603050405020304" pitchFamily="18" charset="0"/>
              </a:rPr>
              <a:t>.</a:t>
            </a:r>
            <a:endPar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endParaRPr>
          </a:p>
        </p:txBody>
      </p:sp>
      <p:sp>
        <p:nvSpPr>
          <p:cNvPr id="24" name="Rectangle 23">
            <a:extLst>
              <a:ext uri="{FF2B5EF4-FFF2-40B4-BE49-F238E27FC236}">
                <a16:creationId xmlns:a16="http://schemas.microsoft.com/office/drawing/2014/main" id="{B3FB4C65-AFDD-45FE-8008-658A6CED42B6}"/>
              </a:ext>
            </a:extLst>
          </p:cNvPr>
          <p:cNvSpPr/>
          <p:nvPr/>
        </p:nvSpPr>
        <p:spPr bwMode="auto">
          <a:xfrm>
            <a:off x="7364558" y="4170245"/>
            <a:ext cx="4475012"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Thử</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nghiệm</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kế</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hoạch</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làm</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việc</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lang="en-US" kern="0" dirty="0" err="1">
                <a:solidFill>
                  <a:srgbClr val="CE4D78"/>
                </a:solidFill>
                <a:latin typeface="Times New Roman" panose="02020603050405020304" pitchFamily="18" charset="0"/>
                <a:cs typeface="Times New Roman" panose="02020603050405020304" pitchFamily="18" charset="0"/>
              </a:rPr>
              <a:t>linh</a:t>
            </a:r>
            <a:r>
              <a:rPr lang="en-US" kern="0" dirty="0">
                <a:solidFill>
                  <a:srgbClr val="CE4D78"/>
                </a:solidFill>
                <a:latin typeface="Times New Roman" panose="02020603050405020304" pitchFamily="18" charset="0"/>
                <a:cs typeface="Times New Roman" panose="02020603050405020304" pitchFamily="18" charset="0"/>
              </a:rPr>
              <a:t> </a:t>
            </a:r>
            <a:r>
              <a:rPr lang="en-US" kern="0" dirty="0" err="1">
                <a:solidFill>
                  <a:srgbClr val="CE4D78"/>
                </a:solidFill>
                <a:latin typeface="Times New Roman" panose="02020603050405020304" pitchFamily="18" charset="0"/>
                <a:cs typeface="Times New Roman" panose="02020603050405020304" pitchFamily="18" charset="0"/>
              </a:rPr>
              <a:t>hoạt</a:t>
            </a:r>
            <a:r>
              <a:rPr lang="en-US" kern="0" dirty="0">
                <a:solidFill>
                  <a:srgbClr val="CE4D78"/>
                </a:solidFill>
                <a:latin typeface="Times New Roman" panose="02020603050405020304" pitchFamily="18" charset="0"/>
                <a:cs typeface="Times New Roman" panose="02020603050405020304" pitchFamily="18" charset="0"/>
              </a:rPr>
              <a:t> </a:t>
            </a:r>
            <a:r>
              <a:rPr lang="en-US" kern="0" dirty="0" err="1">
                <a:solidFill>
                  <a:srgbClr val="CE4D78"/>
                </a:solidFill>
                <a:latin typeface="Times New Roman" panose="02020603050405020304" pitchFamily="18" charset="0"/>
                <a:cs typeface="Times New Roman" panose="02020603050405020304" pitchFamily="18" charset="0"/>
              </a:rPr>
              <a:t>tại</a:t>
            </a:r>
            <a:r>
              <a:rPr lang="en-US" kern="0" dirty="0">
                <a:solidFill>
                  <a:srgbClr val="CE4D78"/>
                </a:solidFill>
                <a:latin typeface="Times New Roman" panose="02020603050405020304" pitchFamily="18" charset="0"/>
                <a:cs typeface="Times New Roman" panose="02020603050405020304" pitchFamily="18" charset="0"/>
              </a:rPr>
              <a:t> EVN</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GENCO 3 </a:t>
            </a:r>
            <a:r>
              <a:rPr lang="en-US" kern="0" dirty="0" err="1">
                <a:solidFill>
                  <a:srgbClr val="CE4D78"/>
                </a:solidFill>
                <a:latin typeface="Times New Roman" panose="02020603050405020304" pitchFamily="18" charset="0"/>
                <a:cs typeface="Times New Roman" panose="02020603050405020304" pitchFamily="18" charset="0"/>
              </a:rPr>
              <a:t>trong</a:t>
            </a:r>
            <a:r>
              <a:rPr lang="en-US" kern="0" dirty="0">
                <a:solidFill>
                  <a:srgbClr val="CE4D78"/>
                </a:solidFill>
                <a:latin typeface="Times New Roman" panose="02020603050405020304" pitchFamily="18" charset="0"/>
                <a:cs typeface="Times New Roman" panose="02020603050405020304" pitchFamily="18" charset="0"/>
              </a:rPr>
              <a:t> </a:t>
            </a:r>
            <a:r>
              <a:rPr lang="en-US" kern="0" dirty="0" err="1">
                <a:solidFill>
                  <a:srgbClr val="CE4D78"/>
                </a:solidFill>
                <a:latin typeface="Times New Roman" panose="02020603050405020304" pitchFamily="18" charset="0"/>
                <a:cs typeface="Times New Roman" panose="02020603050405020304" pitchFamily="18" charset="0"/>
              </a:rPr>
              <a:t>năm</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2022-2023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và</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đánh</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giá</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áp</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dụng</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trong</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EVN.</a:t>
            </a:r>
          </a:p>
        </p:txBody>
      </p:sp>
      <p:sp>
        <p:nvSpPr>
          <p:cNvPr id="25" name="Rectangle 24">
            <a:extLst>
              <a:ext uri="{FF2B5EF4-FFF2-40B4-BE49-F238E27FC236}">
                <a16:creationId xmlns:a16="http://schemas.microsoft.com/office/drawing/2014/main" id="{E33A5105-6542-4F3A-A492-63817B4977D4}"/>
              </a:ext>
            </a:extLst>
          </p:cNvPr>
          <p:cNvSpPr/>
          <p:nvPr/>
        </p:nvSpPr>
        <p:spPr bwMode="auto">
          <a:xfrm>
            <a:off x="7364558" y="5347221"/>
            <a:ext cx="4475010"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Duy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rì</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cuộc</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hi</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Phụ</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EVN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sáng</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ạo</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2 </a:t>
            </a:r>
            <a:r>
              <a:rPr lang="en-US" kern="0" dirty="0" err="1">
                <a:solidFill>
                  <a:schemeClr val="accent6"/>
                </a:solidFill>
                <a:latin typeface="Times New Roman" panose="02020603050405020304" pitchFamily="18" charset="0"/>
                <a:cs typeface="Times New Roman" panose="02020603050405020304" pitchFamily="18" charset="0"/>
              </a:rPr>
              <a:t>năm</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một</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lần</a:t>
            </a:r>
            <a:r>
              <a:rPr lang="en-US" kern="0" dirty="0">
                <a:solidFill>
                  <a:schemeClr val="accent6"/>
                </a:solidFill>
                <a:latin typeface="Times New Roman" panose="02020603050405020304" pitchFamily="18" charset="0"/>
                <a:cs typeface="Times New Roman" panose="02020603050405020304" pitchFamily="18" charset="0"/>
              </a:rPr>
              <a:t> ở </a:t>
            </a:r>
            <a:r>
              <a:rPr lang="en-US" kern="0" dirty="0" err="1">
                <a:solidFill>
                  <a:schemeClr val="accent6"/>
                </a:solidFill>
                <a:latin typeface="Times New Roman" panose="02020603050405020304" pitchFamily="18" charset="0"/>
                <a:cs typeface="Times New Roman" panose="02020603050405020304" pitchFamily="18" charset="0"/>
              </a:rPr>
              <a:t>cấp</a:t>
            </a:r>
            <a:r>
              <a:rPr lang="en-US" kern="0" dirty="0">
                <a:solidFill>
                  <a:schemeClr val="accent6"/>
                </a:solidFill>
                <a:latin typeface="Times New Roman" panose="02020603050405020304" pitchFamily="18" charset="0"/>
                <a:cs typeface="Times New Roman" panose="02020603050405020304" pitchFamily="18" charset="0"/>
              </a:rPr>
              <a:t> EVN </a:t>
            </a:r>
            <a:r>
              <a:rPr lang="en-US" kern="0" dirty="0" err="1">
                <a:solidFill>
                  <a:schemeClr val="accent6"/>
                </a:solidFill>
                <a:latin typeface="Times New Roman" panose="02020603050405020304" pitchFamily="18" charset="0"/>
                <a:cs typeface="Times New Roman" panose="02020603050405020304" pitchFamily="18" charset="0"/>
              </a:rPr>
              <a:t>và</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hằng</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năm</a:t>
            </a:r>
            <a:r>
              <a:rPr lang="en-US" kern="0" dirty="0">
                <a:solidFill>
                  <a:schemeClr val="accent6"/>
                </a:solidFill>
                <a:latin typeface="Times New Roman" panose="02020603050405020304" pitchFamily="18" charset="0"/>
                <a:cs typeface="Times New Roman" panose="02020603050405020304" pitchFamily="18" charset="0"/>
              </a:rPr>
              <a:t> ở </a:t>
            </a:r>
            <a:r>
              <a:rPr lang="en-US" kern="0" dirty="0" err="1">
                <a:solidFill>
                  <a:schemeClr val="accent6"/>
                </a:solidFill>
                <a:latin typeface="Times New Roman" panose="02020603050405020304" pitchFamily="18" charset="0"/>
                <a:cs typeface="Times New Roman" panose="02020603050405020304" pitchFamily="18" charset="0"/>
              </a:rPr>
              <a:t>các</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Tổng</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công</a:t>
            </a:r>
            <a:r>
              <a:rPr lang="en-US" kern="0" dirty="0">
                <a:solidFill>
                  <a:schemeClr val="accent6"/>
                </a:solidFill>
                <a:latin typeface="Times New Roman" panose="02020603050405020304" pitchFamily="18" charset="0"/>
                <a:cs typeface="Times New Roman" panose="02020603050405020304" pitchFamily="18" charset="0"/>
              </a:rPr>
              <a:t> ty, </a:t>
            </a:r>
            <a:r>
              <a:rPr lang="en-US" kern="0" dirty="0" err="1">
                <a:solidFill>
                  <a:schemeClr val="accent6"/>
                </a:solidFill>
                <a:latin typeface="Times New Roman" panose="02020603050405020304" pitchFamily="18" charset="0"/>
                <a:cs typeface="Times New Roman" panose="02020603050405020304" pitchFamily="18" charset="0"/>
              </a:rPr>
              <a:t>công</a:t>
            </a:r>
            <a:r>
              <a:rPr lang="en-US" kern="0" dirty="0">
                <a:solidFill>
                  <a:schemeClr val="accent6"/>
                </a:solidFill>
                <a:latin typeface="Times New Roman" panose="02020603050405020304" pitchFamily="18" charset="0"/>
                <a:cs typeface="Times New Roman" panose="02020603050405020304" pitchFamily="18" charset="0"/>
              </a:rPr>
              <a:t> ty con </a:t>
            </a:r>
            <a:r>
              <a:rPr lang="en-US" kern="0" dirty="0" err="1">
                <a:solidFill>
                  <a:schemeClr val="accent6"/>
                </a:solidFill>
                <a:latin typeface="Times New Roman" panose="02020603050405020304" pitchFamily="18" charset="0"/>
                <a:cs typeface="Times New Roman" panose="02020603050405020304" pitchFamily="18" charset="0"/>
              </a:rPr>
              <a:t>và</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đơn</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vị</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trực</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thuộc</a:t>
            </a:r>
            <a:r>
              <a:rPr lang="en-US" kern="0" dirty="0">
                <a:solidFill>
                  <a:schemeClr val="accent6"/>
                </a:solidFill>
                <a:latin typeface="Times New Roman" panose="02020603050405020304" pitchFamily="18" charset="0"/>
                <a:cs typeface="Times New Roman" panose="02020603050405020304" pitchFamily="18" charset="0"/>
              </a:rPr>
              <a:t>.</a:t>
            </a:r>
            <a:endPar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endParaRPr>
          </a:p>
        </p:txBody>
      </p:sp>
      <p:sp>
        <p:nvSpPr>
          <p:cNvPr id="26" name="Rectangle 25">
            <a:extLst>
              <a:ext uri="{FF2B5EF4-FFF2-40B4-BE49-F238E27FC236}">
                <a16:creationId xmlns:a16="http://schemas.microsoft.com/office/drawing/2014/main" id="{2FFB9CD2-FD2D-4EE4-A7FE-E845D4746607}"/>
              </a:ext>
            </a:extLst>
          </p:cNvPr>
          <p:cNvSpPr/>
          <p:nvPr/>
        </p:nvSpPr>
        <p:spPr bwMode="auto">
          <a:xfrm>
            <a:off x="333375" y="1813631"/>
            <a:ext cx="4356673"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en-US" kern="0" dirty="0" err="1">
                <a:solidFill>
                  <a:srgbClr val="FAB847"/>
                </a:solidFill>
                <a:latin typeface="Times New Roman" panose="02020603050405020304" pitchFamily="18" charset="0"/>
                <a:cs typeface="Times New Roman" panose="02020603050405020304" pitchFamily="18" charset="0"/>
              </a:rPr>
              <a:t>Đánh</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giá</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hiệu</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quả</a:t>
            </a:r>
            <a:r>
              <a:rPr lang="en-US" kern="0" dirty="0">
                <a:solidFill>
                  <a:srgbClr val="FAB847"/>
                </a:solidFill>
                <a:latin typeface="Times New Roman" panose="02020603050405020304" pitchFamily="18" charset="0"/>
                <a:cs typeface="Times New Roman" panose="02020603050405020304" pitchFamily="18" charset="0"/>
              </a:rPr>
              <a:t> bao </a:t>
            </a:r>
            <a:r>
              <a:rPr lang="en-US" kern="0" dirty="0" err="1">
                <a:solidFill>
                  <a:srgbClr val="FAB847"/>
                </a:solidFill>
                <a:latin typeface="Times New Roman" panose="02020603050405020304" pitchFamily="18" charset="0"/>
                <a:cs typeface="Times New Roman" panose="02020603050405020304" pitchFamily="18" charset="0"/>
              </a:rPr>
              <a:t>gồm</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các</a:t>
            </a:r>
            <a:r>
              <a:rPr lang="en-US" kern="0" dirty="0">
                <a:solidFill>
                  <a:srgbClr val="FAB847"/>
                </a:solidFill>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chỉ</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iêu</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KPIs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dựa</a:t>
            </a:r>
            <a:r>
              <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FAB847"/>
                </a:solidFill>
                <a:effectLst/>
                <a:uLnTx/>
                <a:uFillTx/>
                <a:latin typeface="Times New Roman" panose="02020603050405020304" pitchFamily="18" charset="0"/>
                <a:cs typeface="Times New Roman" panose="02020603050405020304" pitchFamily="18" charset="0"/>
              </a:rPr>
              <a:t>trên</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hời</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gian</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làm</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việc</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và</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à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ạ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Người</a:t>
            </a:r>
            <a:r>
              <a:rPr lang="en-US" kern="0" dirty="0">
                <a:solidFill>
                  <a:srgbClr val="FAB847"/>
                </a:solidFill>
                <a:latin typeface="Times New Roman" panose="02020603050405020304" pitchFamily="18" charset="0"/>
                <a:cs typeface="Times New Roman" panose="02020603050405020304" pitchFamily="18" charset="0"/>
              </a:rPr>
              <a:t> lao </a:t>
            </a:r>
            <a:r>
              <a:rPr lang="en-US" kern="0" dirty="0" err="1">
                <a:solidFill>
                  <a:srgbClr val="FAB847"/>
                </a:solidFill>
                <a:latin typeface="Times New Roman" panose="02020603050405020304" pitchFamily="18" charset="0"/>
                <a:cs typeface="Times New Roman" panose="02020603050405020304" pitchFamily="18" charset="0"/>
              </a:rPr>
              <a:t>động</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khi</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ham</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gia</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à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tạo</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không</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được</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hưởng</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lương</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năng</a:t>
            </a:r>
            <a:r>
              <a:rPr lang="en-US" kern="0" dirty="0">
                <a:solidFill>
                  <a:srgbClr val="FAB847"/>
                </a:solidFill>
                <a:latin typeface="Times New Roman" panose="02020603050405020304" pitchFamily="18" charset="0"/>
                <a:cs typeface="Times New Roman" panose="02020603050405020304" pitchFamily="18" charset="0"/>
              </a:rPr>
              <a:t> </a:t>
            </a:r>
            <a:r>
              <a:rPr lang="en-US" kern="0" dirty="0" err="1">
                <a:solidFill>
                  <a:srgbClr val="FAB847"/>
                </a:solidFill>
                <a:latin typeface="Times New Roman" panose="02020603050405020304" pitchFamily="18" charset="0"/>
                <a:cs typeface="Times New Roman" panose="02020603050405020304" pitchFamily="18" charset="0"/>
              </a:rPr>
              <a:t>suất</a:t>
            </a:r>
            <a:r>
              <a:rPr lang="en-US" kern="0" dirty="0">
                <a:solidFill>
                  <a:srgbClr val="FAB847"/>
                </a:solidFill>
                <a:latin typeface="Times New Roman" panose="02020603050405020304" pitchFamily="18" charset="0"/>
                <a:cs typeface="Times New Roman" panose="02020603050405020304" pitchFamily="18" charset="0"/>
              </a:rPr>
              <a:t> lao </a:t>
            </a:r>
            <a:r>
              <a:rPr lang="en-US" kern="0" dirty="0" err="1">
                <a:solidFill>
                  <a:srgbClr val="FAB847"/>
                </a:solidFill>
                <a:latin typeface="Times New Roman" panose="02020603050405020304" pitchFamily="18" charset="0"/>
                <a:cs typeface="Times New Roman" panose="02020603050405020304" pitchFamily="18" charset="0"/>
              </a:rPr>
              <a:t>động</a:t>
            </a:r>
            <a:r>
              <a:rPr lang="en-US" kern="0" dirty="0">
                <a:solidFill>
                  <a:srgbClr val="FAB847"/>
                </a:solidFill>
                <a:latin typeface="Times New Roman" panose="02020603050405020304" pitchFamily="18" charset="0"/>
                <a:cs typeface="Times New Roman" panose="02020603050405020304" pitchFamily="18" charset="0"/>
              </a:rPr>
              <a:t>.</a:t>
            </a:r>
            <a:endParaRPr kumimoji="0" lang="en-US" i="0" u="none" strike="noStrike" kern="0" cap="none" spc="0" normalizeH="0" baseline="0" noProof="0" dirty="0">
              <a:ln>
                <a:noFill/>
              </a:ln>
              <a:solidFill>
                <a:srgbClr val="FAB847"/>
              </a:solidFill>
              <a:effectLst/>
              <a:uLnTx/>
              <a:uFillTx/>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41A8848C-8E0E-4FF6-98FB-56296E276DB8}"/>
              </a:ext>
            </a:extLst>
          </p:cNvPr>
          <p:cNvSpPr/>
          <p:nvPr/>
        </p:nvSpPr>
        <p:spPr bwMode="auto">
          <a:xfrm>
            <a:off x="333375" y="3100111"/>
            <a:ext cx="4356673"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EVN </a:t>
            </a:r>
            <a:r>
              <a:rPr lang="en-US" kern="0" dirty="0" err="1">
                <a:solidFill>
                  <a:schemeClr val="accent1"/>
                </a:solidFill>
                <a:latin typeface="Times New Roman" panose="02020603050405020304" pitchFamily="18" charset="0"/>
                <a:cs typeface="Times New Roman" panose="02020603050405020304" pitchFamily="18" charset="0"/>
              </a:rPr>
              <a:t>đã</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áp</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dụng</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nhiều</a:t>
            </a:r>
            <a:r>
              <a:rPr lang="en-US" kern="0" dirty="0">
                <a:solidFill>
                  <a:schemeClr val="accent1"/>
                </a:solidFill>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oạt</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ộng</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ữu</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ích</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CBNV,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đặ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biệt</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hỗ</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trợ</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tài</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chính</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khi</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sinh</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sản</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khám</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sức</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khoẻ</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hằng</a:t>
            </a:r>
            <a:r>
              <a:rPr lang="en-US" kern="0" dirty="0">
                <a:solidFill>
                  <a:schemeClr val="accent1"/>
                </a:solidFill>
                <a:latin typeface="Times New Roman" panose="02020603050405020304" pitchFamily="18" charset="0"/>
                <a:cs typeface="Times New Roman" panose="02020603050405020304" pitchFamily="18" charset="0"/>
              </a:rPr>
              <a:t> </a:t>
            </a:r>
            <a:r>
              <a:rPr lang="en-US" kern="0" dirty="0" err="1">
                <a:solidFill>
                  <a:schemeClr val="accent1"/>
                </a:solidFill>
                <a:latin typeface="Times New Roman" panose="02020603050405020304" pitchFamily="18" charset="0"/>
                <a:cs typeface="Times New Roman" panose="02020603050405020304" pitchFamily="18" charset="0"/>
              </a:rPr>
              <a:t>năm</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hám</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uyên</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sâu</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và</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nghỉ</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phụ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hồi</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sức</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1"/>
                </a:solidFill>
                <a:effectLst/>
                <a:uLnTx/>
                <a:uFillTx/>
                <a:latin typeface="Times New Roman" panose="02020603050405020304" pitchFamily="18" charset="0"/>
                <a:cs typeface="Times New Roman" panose="02020603050405020304" pitchFamily="18" charset="0"/>
              </a:rPr>
              <a:t>khỏe</a:t>
            </a:r>
            <a:r>
              <a:rPr kumimoji="0" lang="en-US" i="0" u="none" strike="noStrike" kern="0" cap="none" spc="0" normalizeH="0" baseline="0" noProof="0" dirty="0">
                <a:ln>
                  <a:noFill/>
                </a:ln>
                <a:solidFill>
                  <a:schemeClr val="accent1"/>
                </a:solidFill>
                <a:effectLst/>
                <a:uLnTx/>
                <a:uFillTx/>
                <a:latin typeface="Times New Roman" panose="02020603050405020304" pitchFamily="18" charset="0"/>
                <a:cs typeface="Times New Roman" panose="02020603050405020304" pitchFamily="18" charset="0"/>
              </a:rPr>
              <a:t>...).</a:t>
            </a:r>
          </a:p>
        </p:txBody>
      </p:sp>
      <p:sp>
        <p:nvSpPr>
          <p:cNvPr id="29" name="Rectangle 28">
            <a:extLst>
              <a:ext uri="{FF2B5EF4-FFF2-40B4-BE49-F238E27FC236}">
                <a16:creationId xmlns:a16="http://schemas.microsoft.com/office/drawing/2014/main" id="{907F6117-8CBA-41DB-8D7C-0683D6721D89}"/>
              </a:ext>
            </a:extLst>
          </p:cNvPr>
          <p:cNvSpPr/>
          <p:nvPr/>
        </p:nvSpPr>
        <p:spPr bwMode="auto">
          <a:xfrm>
            <a:off x="333375" y="4167583"/>
            <a:ext cx="4356673"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EVN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chưa</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áp</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dụng</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lịch</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làm</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việc</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linh</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rgbClr val="CE4D78"/>
                </a:solidFill>
                <a:effectLst/>
                <a:uLnTx/>
                <a:uFillTx/>
                <a:latin typeface="Times New Roman" panose="02020603050405020304" pitchFamily="18" charset="0"/>
                <a:cs typeface="Times New Roman" panose="02020603050405020304" pitchFamily="18" charset="0"/>
              </a:rPr>
              <a:t>hoạt</a:t>
            </a:r>
            <a:r>
              <a:rPr kumimoji="0" lang="en-US" i="0" u="none" strike="noStrike" kern="0" cap="none" spc="0" normalizeH="0" baseline="0" noProof="0" dirty="0">
                <a:ln>
                  <a:noFill/>
                </a:ln>
                <a:solidFill>
                  <a:srgbClr val="CE4D78"/>
                </a:solidFill>
                <a:effectLst/>
                <a:uLnTx/>
                <a:uFillTx/>
                <a:latin typeface="Times New Roman" panose="02020603050405020304" pitchFamily="18" charset="0"/>
                <a:cs typeface="Times New Roman" panose="02020603050405020304" pitchFamily="18" charset="0"/>
              </a:rPr>
              <a:t>.</a:t>
            </a:r>
          </a:p>
        </p:txBody>
      </p:sp>
      <p:sp>
        <p:nvSpPr>
          <p:cNvPr id="30" name="Rectangle 29">
            <a:extLst>
              <a:ext uri="{FF2B5EF4-FFF2-40B4-BE49-F238E27FC236}">
                <a16:creationId xmlns:a16="http://schemas.microsoft.com/office/drawing/2014/main" id="{06D318CA-6C10-4F18-8BCE-B228D79CD7B4}"/>
              </a:ext>
            </a:extLst>
          </p:cNvPr>
          <p:cNvSpPr/>
          <p:nvPr/>
        </p:nvSpPr>
        <p:spPr bwMode="auto">
          <a:xfrm>
            <a:off x="333375" y="5344559"/>
            <a:ext cx="4356673" cy="902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p>
            <a:pPr marL="0" marR="0" lvl="0" indent="0" algn="just" defTabSz="914400" rtl="0" eaLnBrk="1" fontAlgn="base" latinLnBrk="0" hangingPunct="1">
              <a:lnSpc>
                <a:spcPct val="90000"/>
              </a:lnSpc>
              <a:spcBef>
                <a:spcPts val="0"/>
              </a:spcBef>
              <a:spcAft>
                <a:spcPts val="0"/>
              </a:spcAft>
              <a:buClrTx/>
              <a:buSzTx/>
              <a:buFontTx/>
              <a:buNone/>
              <a:tabLst/>
              <a:defRPr/>
            </a:pPr>
            <a:r>
              <a:rPr lang="en-US" kern="0" dirty="0" err="1">
                <a:solidFill>
                  <a:schemeClr val="accent6"/>
                </a:solidFill>
                <a:latin typeface="Times New Roman" panose="02020603050405020304" pitchFamily="18" charset="0"/>
                <a:cs typeface="Times New Roman" panose="02020603050405020304" pitchFamily="18" charset="0"/>
              </a:rPr>
              <a:t>Tổ</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chức</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cuộc</a:t>
            </a:r>
            <a:r>
              <a:rPr lang="en-US" kern="0" dirty="0">
                <a:solidFill>
                  <a:schemeClr val="accent6"/>
                </a:solidFill>
                <a:latin typeface="Times New Roman" panose="02020603050405020304" pitchFamily="18" charset="0"/>
                <a:cs typeface="Times New Roman" panose="02020603050405020304" pitchFamily="18" charset="0"/>
              </a:rPr>
              <a:t> </a:t>
            </a:r>
            <a:r>
              <a:rPr lang="en-US" kern="0" dirty="0" err="1">
                <a:solidFill>
                  <a:schemeClr val="accent6"/>
                </a:solidFill>
                <a:latin typeface="Times New Roman" panose="02020603050405020304" pitchFamily="18" charset="0"/>
                <a:cs typeface="Times New Roman" panose="02020603050405020304" pitchFamily="18" charset="0"/>
              </a:rPr>
              <a:t>thi</a:t>
            </a:r>
            <a:r>
              <a:rPr lang="en-US" kern="0" dirty="0">
                <a:solidFill>
                  <a:schemeClr val="accent6"/>
                </a:solidFill>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Phụ</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EVN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sáng</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ạo</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để</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ạo</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ra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cơ</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hội</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cho</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phụ</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nữ</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hể</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hiện</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các</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ý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ưởng</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đổi</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mới</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trong</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công</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 </a:t>
            </a:r>
            <a:r>
              <a:rPr kumimoji="0" lang="en-US" i="0" u="none" strike="noStrike" kern="0" cap="none" spc="0" normalizeH="0" baseline="0" noProof="0" dirty="0" err="1">
                <a:ln>
                  <a:noFill/>
                </a:ln>
                <a:solidFill>
                  <a:schemeClr val="accent6"/>
                </a:solidFill>
                <a:effectLst/>
                <a:uLnTx/>
                <a:uFillTx/>
                <a:latin typeface="Times New Roman" panose="02020603050405020304" pitchFamily="18" charset="0"/>
                <a:cs typeface="Times New Roman" panose="02020603050405020304" pitchFamily="18" charset="0"/>
              </a:rPr>
              <a:t>việc</a:t>
            </a:r>
            <a:r>
              <a:rPr kumimoji="0" lang="en-US" i="0" u="none" strike="noStrike" kern="0" cap="none" spc="0" normalizeH="0" baseline="0" noProof="0" dirty="0">
                <a:ln>
                  <a:noFill/>
                </a:ln>
                <a:solidFill>
                  <a:schemeClr val="accent6"/>
                </a:solidFill>
                <a:effectLst/>
                <a:uLnTx/>
                <a:uFillTx/>
                <a:latin typeface="Times New Roman" panose="02020603050405020304" pitchFamily="18" charset="0"/>
                <a:cs typeface="Times New Roman" panose="02020603050405020304" pitchFamily="18" charset="0"/>
              </a:rPr>
              <a:t>.</a:t>
            </a:r>
          </a:p>
        </p:txBody>
      </p:sp>
      <p:cxnSp>
        <p:nvCxnSpPr>
          <p:cNvPr id="31" name="Straight Connector 30">
            <a:extLst>
              <a:ext uri="{FF2B5EF4-FFF2-40B4-BE49-F238E27FC236}">
                <a16:creationId xmlns:a16="http://schemas.microsoft.com/office/drawing/2014/main" id="{DF044A31-24FB-4E83-B652-B51CAB98948B}"/>
              </a:ext>
            </a:extLst>
          </p:cNvPr>
          <p:cNvCxnSpPr/>
          <p:nvPr/>
        </p:nvCxnSpPr>
        <p:spPr>
          <a:xfrm>
            <a:off x="6034520" y="1813631"/>
            <a:ext cx="0" cy="443359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2" name="POWER_USER_ID_ICONS_Certificate" descr="{&quot;Key&quot;:&quot;POWER_USER_SHAPE_ICON&quot;,&quot;Value&quot;:&quot;POWER_USER_SHAPE_ICON_STYLE_1&quot;}">
            <a:extLst>
              <a:ext uri="{FF2B5EF4-FFF2-40B4-BE49-F238E27FC236}">
                <a16:creationId xmlns:a16="http://schemas.microsoft.com/office/drawing/2014/main" id="{7C71344D-EFDA-48B5-A839-D6B009D544DE}"/>
              </a:ext>
            </a:extLst>
          </p:cNvPr>
          <p:cNvGrpSpPr>
            <a:grpSpLocks noChangeAspect="1"/>
          </p:cNvGrpSpPr>
          <p:nvPr>
            <p:custDataLst>
              <p:tags r:id="rId1"/>
            </p:custDataLst>
          </p:nvPr>
        </p:nvGrpSpPr>
        <p:grpSpPr bwMode="auto">
          <a:xfrm>
            <a:off x="4946722" y="3217316"/>
            <a:ext cx="655638" cy="512763"/>
            <a:chOff x="44" y="66"/>
            <a:chExt cx="413" cy="323"/>
          </a:xfrm>
          <a:solidFill>
            <a:schemeClr val="bg1"/>
          </a:solidFill>
        </p:grpSpPr>
        <p:sp>
          <p:nvSpPr>
            <p:cNvPr id="33" name="POWER_USER_ID_ICONS_Certificate">
              <a:extLst>
                <a:ext uri="{FF2B5EF4-FFF2-40B4-BE49-F238E27FC236}">
                  <a16:creationId xmlns:a16="http://schemas.microsoft.com/office/drawing/2014/main" id="{C89803A7-1E3F-4F99-8C95-6D4DB8FB91E5}"/>
                </a:ext>
              </a:extLst>
            </p:cNvPr>
            <p:cNvSpPr>
              <a:spLocks noEditPoints="1"/>
            </p:cNvSpPr>
            <p:nvPr>
              <p:custDataLst>
                <p:tags r:id="rId42"/>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4" name="POWER_USER_ID_ICONS_Certificate">
              <a:extLst>
                <a:ext uri="{FF2B5EF4-FFF2-40B4-BE49-F238E27FC236}">
                  <a16:creationId xmlns:a16="http://schemas.microsoft.com/office/drawing/2014/main" id="{4796391D-BDD1-48BD-89CB-3DAE1C072027}"/>
                </a:ext>
              </a:extLst>
            </p:cNvPr>
            <p:cNvSpPr>
              <a:spLocks noEditPoints="1"/>
            </p:cNvSpPr>
            <p:nvPr>
              <p:custDataLst>
                <p:tags r:id="rId43"/>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5" name="POWER_USER_ID_ICONS_Certificate">
              <a:extLst>
                <a:ext uri="{FF2B5EF4-FFF2-40B4-BE49-F238E27FC236}">
                  <a16:creationId xmlns:a16="http://schemas.microsoft.com/office/drawing/2014/main" id="{EAA88ABB-897A-4030-8630-3D699C79C33D}"/>
                </a:ext>
              </a:extLst>
            </p:cNvPr>
            <p:cNvSpPr>
              <a:spLocks noEditPoints="1"/>
            </p:cNvSpPr>
            <p:nvPr>
              <p:custDataLst>
                <p:tags r:id="rId44"/>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6" name="POWER_USER_ID_ICONS_Certificate">
              <a:extLst>
                <a:ext uri="{FF2B5EF4-FFF2-40B4-BE49-F238E27FC236}">
                  <a16:creationId xmlns:a16="http://schemas.microsoft.com/office/drawing/2014/main" id="{2AB727CA-CA1F-472A-872E-02D8AEE3C984}"/>
                </a:ext>
              </a:extLst>
            </p:cNvPr>
            <p:cNvSpPr>
              <a:spLocks/>
            </p:cNvSpPr>
            <p:nvPr>
              <p:custDataLst>
                <p:tags r:id="rId45"/>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37" name="POWER_USER_ID_ICONS_Certificate">
              <a:extLst>
                <a:ext uri="{FF2B5EF4-FFF2-40B4-BE49-F238E27FC236}">
                  <a16:creationId xmlns:a16="http://schemas.microsoft.com/office/drawing/2014/main" id="{8F6063C2-1E8F-4355-9E75-FA370F61151C}"/>
                </a:ext>
              </a:extLst>
            </p:cNvPr>
            <p:cNvSpPr>
              <a:spLocks noEditPoints="1"/>
            </p:cNvSpPr>
            <p:nvPr>
              <p:custDataLst>
                <p:tags r:id="rId46"/>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46" name="POWER_USER_ID_ICONS_Certificate">
              <a:extLst>
                <a:ext uri="{FF2B5EF4-FFF2-40B4-BE49-F238E27FC236}">
                  <a16:creationId xmlns:a16="http://schemas.microsoft.com/office/drawing/2014/main" id="{3BF1D5CB-45FF-49C8-BDB9-24EF470D8268}"/>
                </a:ext>
              </a:extLst>
            </p:cNvPr>
            <p:cNvSpPr>
              <a:spLocks noChangeArrowheads="1"/>
            </p:cNvSpPr>
            <p:nvPr>
              <p:custDataLst>
                <p:tags r:id="rId47"/>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47" name="POWER_USER_ID_ICONS_Certificate">
              <a:extLst>
                <a:ext uri="{FF2B5EF4-FFF2-40B4-BE49-F238E27FC236}">
                  <a16:creationId xmlns:a16="http://schemas.microsoft.com/office/drawing/2014/main" id="{3BA0FEA5-36C2-417A-ADDD-494BE8DEFF51}"/>
                </a:ext>
              </a:extLst>
            </p:cNvPr>
            <p:cNvSpPr>
              <a:spLocks noChangeArrowheads="1"/>
            </p:cNvSpPr>
            <p:nvPr>
              <p:custDataLst>
                <p:tags r:id="rId48"/>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48" name="POWER_USER_ID_ICONS_Eiffel_Tower2" descr="{&quot;Key&quot;:&quot;POWER_USER_SHAPE_ICON&quot;,&quot;Value&quot;:&quot;POWER_USER_SHAPE_ICON_STYLE_1&quot;}">
            <a:extLst>
              <a:ext uri="{FF2B5EF4-FFF2-40B4-BE49-F238E27FC236}">
                <a16:creationId xmlns:a16="http://schemas.microsoft.com/office/drawing/2014/main" id="{B238C43D-6E4F-4088-90B8-D9460D49A444}"/>
              </a:ext>
            </a:extLst>
          </p:cNvPr>
          <p:cNvSpPr>
            <a:spLocks noChangeAspect="1" noEditPoints="1"/>
          </p:cNvSpPr>
          <p:nvPr>
            <p:custDataLst>
              <p:tags r:id="rId2"/>
            </p:custDataLst>
          </p:nvPr>
        </p:nvSpPr>
        <p:spPr bwMode="auto">
          <a:xfrm>
            <a:off x="5095564" y="1874663"/>
            <a:ext cx="337028" cy="794544"/>
          </a:xfrm>
          <a:custGeom>
            <a:avLst/>
            <a:gdLst>
              <a:gd name="T0" fmla="*/ 406 w 515"/>
              <a:gd name="T1" fmla="*/ 1015 h 1210"/>
              <a:gd name="T2" fmla="*/ 406 w 515"/>
              <a:gd name="T3" fmla="*/ 1014 h 1210"/>
              <a:gd name="T4" fmla="*/ 408 w 515"/>
              <a:gd name="T5" fmla="*/ 1011 h 1210"/>
              <a:gd name="T6" fmla="*/ 408 w 515"/>
              <a:gd name="T7" fmla="*/ 957 h 1210"/>
              <a:gd name="T8" fmla="*/ 405 w 515"/>
              <a:gd name="T9" fmla="*/ 954 h 1210"/>
              <a:gd name="T10" fmla="*/ 375 w 515"/>
              <a:gd name="T11" fmla="*/ 954 h 1210"/>
              <a:gd name="T12" fmla="*/ 322 w 515"/>
              <a:gd name="T13" fmla="*/ 769 h 1210"/>
              <a:gd name="T14" fmla="*/ 328 w 515"/>
              <a:gd name="T15" fmla="*/ 769 h 1210"/>
              <a:gd name="T16" fmla="*/ 337 w 515"/>
              <a:gd name="T17" fmla="*/ 760 h 1210"/>
              <a:gd name="T18" fmla="*/ 337 w 515"/>
              <a:gd name="T19" fmla="*/ 757 h 1210"/>
              <a:gd name="T20" fmla="*/ 337 w 515"/>
              <a:gd name="T21" fmla="*/ 754 h 1210"/>
              <a:gd name="T22" fmla="*/ 333 w 515"/>
              <a:gd name="T23" fmla="*/ 747 h 1210"/>
              <a:gd name="T24" fmla="*/ 328 w 515"/>
              <a:gd name="T25" fmla="*/ 745 h 1210"/>
              <a:gd name="T26" fmla="*/ 322 w 515"/>
              <a:gd name="T27" fmla="*/ 745 h 1210"/>
              <a:gd name="T28" fmla="*/ 278 w 515"/>
              <a:gd name="T29" fmla="*/ 175 h 1210"/>
              <a:gd name="T30" fmla="*/ 293 w 515"/>
              <a:gd name="T31" fmla="*/ 158 h 1210"/>
              <a:gd name="T32" fmla="*/ 293 w 515"/>
              <a:gd name="T33" fmla="*/ 123 h 1210"/>
              <a:gd name="T34" fmla="*/ 268 w 515"/>
              <a:gd name="T35" fmla="*/ 98 h 1210"/>
              <a:gd name="T36" fmla="*/ 268 w 515"/>
              <a:gd name="T37" fmla="*/ 98 h 1210"/>
              <a:gd name="T38" fmla="*/ 268 w 515"/>
              <a:gd name="T39" fmla="*/ 7 h 1210"/>
              <a:gd name="T40" fmla="*/ 257 w 515"/>
              <a:gd name="T41" fmla="*/ 0 h 1210"/>
              <a:gd name="T42" fmla="*/ 247 w 515"/>
              <a:gd name="T43" fmla="*/ 7 h 1210"/>
              <a:gd name="T44" fmla="*/ 247 w 515"/>
              <a:gd name="T45" fmla="*/ 97 h 1210"/>
              <a:gd name="T46" fmla="*/ 247 w 515"/>
              <a:gd name="T47" fmla="*/ 98 h 1210"/>
              <a:gd name="T48" fmla="*/ 221 w 515"/>
              <a:gd name="T49" fmla="*/ 123 h 1210"/>
              <a:gd name="T50" fmla="*/ 221 w 515"/>
              <a:gd name="T51" fmla="*/ 158 h 1210"/>
              <a:gd name="T52" fmla="*/ 237 w 515"/>
              <a:gd name="T53" fmla="*/ 177 h 1210"/>
              <a:gd name="T54" fmla="*/ 193 w 515"/>
              <a:gd name="T55" fmla="*/ 745 h 1210"/>
              <a:gd name="T56" fmla="*/ 188 w 515"/>
              <a:gd name="T57" fmla="*/ 745 h 1210"/>
              <a:gd name="T58" fmla="*/ 182 w 515"/>
              <a:gd name="T59" fmla="*/ 747 h 1210"/>
              <a:gd name="T60" fmla="*/ 179 w 515"/>
              <a:gd name="T61" fmla="*/ 754 h 1210"/>
              <a:gd name="T62" fmla="*/ 179 w 515"/>
              <a:gd name="T63" fmla="*/ 758 h 1210"/>
              <a:gd name="T64" fmla="*/ 179 w 515"/>
              <a:gd name="T65" fmla="*/ 760 h 1210"/>
              <a:gd name="T66" fmla="*/ 188 w 515"/>
              <a:gd name="T67" fmla="*/ 769 h 1210"/>
              <a:gd name="T68" fmla="*/ 193 w 515"/>
              <a:gd name="T69" fmla="*/ 769 h 1210"/>
              <a:gd name="T70" fmla="*/ 140 w 515"/>
              <a:gd name="T71" fmla="*/ 954 h 1210"/>
              <a:gd name="T72" fmla="*/ 111 w 515"/>
              <a:gd name="T73" fmla="*/ 954 h 1210"/>
              <a:gd name="T74" fmla="*/ 108 w 515"/>
              <a:gd name="T75" fmla="*/ 957 h 1210"/>
              <a:gd name="T76" fmla="*/ 108 w 515"/>
              <a:gd name="T77" fmla="*/ 1011 h 1210"/>
              <a:gd name="T78" fmla="*/ 109 w 515"/>
              <a:gd name="T79" fmla="*/ 1013 h 1210"/>
              <a:gd name="T80" fmla="*/ 109 w 515"/>
              <a:gd name="T81" fmla="*/ 1015 h 1210"/>
              <a:gd name="T82" fmla="*/ 0 w 515"/>
              <a:gd name="T83" fmla="*/ 1210 h 1210"/>
              <a:gd name="T84" fmla="*/ 109 w 515"/>
              <a:gd name="T85" fmla="*/ 1210 h 1210"/>
              <a:gd name="T86" fmla="*/ 258 w 515"/>
              <a:gd name="T87" fmla="*/ 1065 h 1210"/>
              <a:gd name="T88" fmla="*/ 406 w 515"/>
              <a:gd name="T89" fmla="*/ 1210 h 1210"/>
              <a:gd name="T90" fmla="*/ 515 w 515"/>
              <a:gd name="T91" fmla="*/ 1210 h 1210"/>
              <a:gd name="T92" fmla="*/ 406 w 515"/>
              <a:gd name="T93" fmla="*/ 1015 h 1210"/>
              <a:gd name="T94" fmla="*/ 208 w 515"/>
              <a:gd name="T95" fmla="*/ 956 h 1210"/>
              <a:gd name="T96" fmla="*/ 228 w 515"/>
              <a:gd name="T97" fmla="*/ 826 h 1210"/>
              <a:gd name="T98" fmla="*/ 255 w 515"/>
              <a:gd name="T99" fmla="*/ 826 h 1210"/>
              <a:gd name="T100" fmla="*/ 261 w 515"/>
              <a:gd name="T101" fmla="*/ 826 h 1210"/>
              <a:gd name="T102" fmla="*/ 287 w 515"/>
              <a:gd name="T103" fmla="*/ 826 h 1210"/>
              <a:gd name="T104" fmla="*/ 307 w 515"/>
              <a:gd name="T105" fmla="*/ 956 h 1210"/>
              <a:gd name="T106" fmla="*/ 208 w 515"/>
              <a:gd name="T107" fmla="*/ 956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5" h="1210">
                <a:moveTo>
                  <a:pt x="406" y="1015"/>
                </a:moveTo>
                <a:lnTo>
                  <a:pt x="406" y="1014"/>
                </a:lnTo>
                <a:cubicBezTo>
                  <a:pt x="407" y="1013"/>
                  <a:pt x="408" y="1012"/>
                  <a:pt x="408" y="1011"/>
                </a:cubicBezTo>
                <a:lnTo>
                  <a:pt x="408" y="957"/>
                </a:lnTo>
                <a:cubicBezTo>
                  <a:pt x="408" y="956"/>
                  <a:pt x="407" y="954"/>
                  <a:pt x="405" y="954"/>
                </a:cubicBezTo>
                <a:lnTo>
                  <a:pt x="375" y="954"/>
                </a:lnTo>
                <a:lnTo>
                  <a:pt x="322" y="769"/>
                </a:lnTo>
                <a:lnTo>
                  <a:pt x="328" y="769"/>
                </a:lnTo>
                <a:cubicBezTo>
                  <a:pt x="333" y="769"/>
                  <a:pt x="337" y="765"/>
                  <a:pt x="337" y="760"/>
                </a:cubicBezTo>
                <a:lnTo>
                  <a:pt x="337" y="757"/>
                </a:lnTo>
                <a:lnTo>
                  <a:pt x="337" y="754"/>
                </a:lnTo>
                <a:cubicBezTo>
                  <a:pt x="337" y="751"/>
                  <a:pt x="335" y="749"/>
                  <a:pt x="333" y="747"/>
                </a:cubicBezTo>
                <a:cubicBezTo>
                  <a:pt x="332" y="746"/>
                  <a:pt x="330" y="745"/>
                  <a:pt x="328" y="745"/>
                </a:cubicBezTo>
                <a:lnTo>
                  <a:pt x="322" y="745"/>
                </a:lnTo>
                <a:cubicBezTo>
                  <a:pt x="290" y="602"/>
                  <a:pt x="279" y="213"/>
                  <a:pt x="278" y="175"/>
                </a:cubicBezTo>
                <a:lnTo>
                  <a:pt x="293" y="158"/>
                </a:lnTo>
                <a:lnTo>
                  <a:pt x="293" y="123"/>
                </a:lnTo>
                <a:lnTo>
                  <a:pt x="268" y="98"/>
                </a:lnTo>
                <a:lnTo>
                  <a:pt x="268" y="98"/>
                </a:lnTo>
                <a:lnTo>
                  <a:pt x="268" y="7"/>
                </a:lnTo>
                <a:cubicBezTo>
                  <a:pt x="268" y="3"/>
                  <a:pt x="263" y="0"/>
                  <a:pt x="257" y="0"/>
                </a:cubicBezTo>
                <a:cubicBezTo>
                  <a:pt x="252" y="0"/>
                  <a:pt x="247" y="3"/>
                  <a:pt x="247" y="7"/>
                </a:cubicBezTo>
                <a:lnTo>
                  <a:pt x="247" y="97"/>
                </a:lnTo>
                <a:lnTo>
                  <a:pt x="247" y="98"/>
                </a:lnTo>
                <a:lnTo>
                  <a:pt x="221" y="123"/>
                </a:lnTo>
                <a:lnTo>
                  <a:pt x="221" y="158"/>
                </a:lnTo>
                <a:lnTo>
                  <a:pt x="237" y="177"/>
                </a:lnTo>
                <a:cubicBezTo>
                  <a:pt x="236" y="223"/>
                  <a:pt x="225" y="604"/>
                  <a:pt x="193" y="745"/>
                </a:cubicBezTo>
                <a:lnTo>
                  <a:pt x="188" y="745"/>
                </a:lnTo>
                <a:cubicBezTo>
                  <a:pt x="186" y="745"/>
                  <a:pt x="184" y="746"/>
                  <a:pt x="182" y="747"/>
                </a:cubicBezTo>
                <a:cubicBezTo>
                  <a:pt x="180" y="749"/>
                  <a:pt x="179" y="751"/>
                  <a:pt x="179" y="754"/>
                </a:cubicBezTo>
                <a:lnTo>
                  <a:pt x="179" y="758"/>
                </a:lnTo>
                <a:lnTo>
                  <a:pt x="179" y="760"/>
                </a:lnTo>
                <a:cubicBezTo>
                  <a:pt x="179" y="765"/>
                  <a:pt x="183" y="769"/>
                  <a:pt x="188" y="769"/>
                </a:cubicBezTo>
                <a:lnTo>
                  <a:pt x="193" y="769"/>
                </a:lnTo>
                <a:lnTo>
                  <a:pt x="140" y="954"/>
                </a:lnTo>
                <a:lnTo>
                  <a:pt x="111" y="954"/>
                </a:lnTo>
                <a:cubicBezTo>
                  <a:pt x="109" y="954"/>
                  <a:pt x="108" y="956"/>
                  <a:pt x="108" y="957"/>
                </a:cubicBezTo>
                <a:lnTo>
                  <a:pt x="108" y="1011"/>
                </a:lnTo>
                <a:cubicBezTo>
                  <a:pt x="108" y="1012"/>
                  <a:pt x="109" y="1013"/>
                  <a:pt x="109" y="1013"/>
                </a:cubicBezTo>
                <a:lnTo>
                  <a:pt x="109" y="1015"/>
                </a:lnTo>
                <a:lnTo>
                  <a:pt x="0" y="1210"/>
                </a:lnTo>
                <a:lnTo>
                  <a:pt x="109" y="1210"/>
                </a:lnTo>
                <a:cubicBezTo>
                  <a:pt x="109" y="1210"/>
                  <a:pt x="120" y="1067"/>
                  <a:pt x="258" y="1065"/>
                </a:cubicBezTo>
                <a:cubicBezTo>
                  <a:pt x="395" y="1067"/>
                  <a:pt x="406" y="1210"/>
                  <a:pt x="406" y="1210"/>
                </a:cubicBezTo>
                <a:lnTo>
                  <a:pt x="515" y="1210"/>
                </a:lnTo>
                <a:lnTo>
                  <a:pt x="406" y="1015"/>
                </a:lnTo>
                <a:close/>
                <a:moveTo>
                  <a:pt x="208" y="956"/>
                </a:moveTo>
                <a:lnTo>
                  <a:pt x="228" y="826"/>
                </a:lnTo>
                <a:lnTo>
                  <a:pt x="255" y="826"/>
                </a:lnTo>
                <a:lnTo>
                  <a:pt x="261" y="826"/>
                </a:lnTo>
                <a:lnTo>
                  <a:pt x="287" y="826"/>
                </a:lnTo>
                <a:lnTo>
                  <a:pt x="307" y="956"/>
                </a:lnTo>
                <a:lnTo>
                  <a:pt x="208" y="95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nvGrpSpPr>
          <p:cNvPr id="49" name="POWER_USER_ID_ICONS_Fossil_Fuel" descr="{&quot;Key&quot;:&quot;POWER_USER_SHAPE_ICON&quot;,&quot;Value&quot;:&quot;POWER_USER_SHAPE_ICON_STYLE_1&quot;}">
            <a:extLst>
              <a:ext uri="{FF2B5EF4-FFF2-40B4-BE49-F238E27FC236}">
                <a16:creationId xmlns:a16="http://schemas.microsoft.com/office/drawing/2014/main" id="{B807F1D6-2509-435C-A8A1-62C1298DB34C}"/>
              </a:ext>
            </a:extLst>
          </p:cNvPr>
          <p:cNvGrpSpPr>
            <a:grpSpLocks noChangeAspect="1"/>
          </p:cNvGrpSpPr>
          <p:nvPr>
            <p:custDataLst>
              <p:tags r:id="rId3"/>
            </p:custDataLst>
          </p:nvPr>
        </p:nvGrpSpPr>
        <p:grpSpPr bwMode="auto">
          <a:xfrm>
            <a:off x="4916848" y="5442768"/>
            <a:ext cx="666750" cy="671513"/>
            <a:chOff x="29" y="32"/>
            <a:chExt cx="420" cy="423"/>
          </a:xfrm>
          <a:solidFill>
            <a:schemeClr val="bg1"/>
          </a:solidFill>
        </p:grpSpPr>
        <p:sp>
          <p:nvSpPr>
            <p:cNvPr id="50" name="POWER_USER_ID_ICONS_Fossil_Fuel">
              <a:extLst>
                <a:ext uri="{FF2B5EF4-FFF2-40B4-BE49-F238E27FC236}">
                  <a16:creationId xmlns:a16="http://schemas.microsoft.com/office/drawing/2014/main" id="{D132A675-EAC3-425C-875C-CF80ED2C9BE9}"/>
                </a:ext>
              </a:extLst>
            </p:cNvPr>
            <p:cNvSpPr>
              <a:spLocks noEditPoints="1"/>
            </p:cNvSpPr>
            <p:nvPr>
              <p:custDataLst>
                <p:tags r:id="rId38"/>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1" name="POWER_USER_ID_ICONS_Fossil_Fuel">
              <a:extLst>
                <a:ext uri="{FF2B5EF4-FFF2-40B4-BE49-F238E27FC236}">
                  <a16:creationId xmlns:a16="http://schemas.microsoft.com/office/drawing/2014/main" id="{B6014701-1685-4397-B724-5443ACF9EA18}"/>
                </a:ext>
              </a:extLst>
            </p:cNvPr>
            <p:cNvSpPr>
              <a:spLocks/>
            </p:cNvSpPr>
            <p:nvPr>
              <p:custDataLst>
                <p:tags r:id="rId39"/>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2" name="POWER_USER_ID_ICONS_Fossil_Fuel">
              <a:extLst>
                <a:ext uri="{FF2B5EF4-FFF2-40B4-BE49-F238E27FC236}">
                  <a16:creationId xmlns:a16="http://schemas.microsoft.com/office/drawing/2014/main" id="{C3F5CFD5-B277-4013-A868-1A22003848B5}"/>
                </a:ext>
              </a:extLst>
            </p:cNvPr>
            <p:cNvSpPr>
              <a:spLocks/>
            </p:cNvSpPr>
            <p:nvPr>
              <p:custDataLst>
                <p:tags r:id="rId40"/>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3" name="POWER_USER_ID_ICONS_Fossil_Fuel">
              <a:extLst>
                <a:ext uri="{FF2B5EF4-FFF2-40B4-BE49-F238E27FC236}">
                  <a16:creationId xmlns:a16="http://schemas.microsoft.com/office/drawing/2014/main" id="{8E45AED7-F82C-4959-AD40-DB31D509B0E2}"/>
                </a:ext>
              </a:extLst>
            </p:cNvPr>
            <p:cNvSpPr>
              <a:spLocks/>
            </p:cNvSpPr>
            <p:nvPr>
              <p:custDataLst>
                <p:tags r:id="rId41"/>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54" name="POWER_USER_ID_ICONS_Brain" descr="{&quot;Key&quot;:&quot;POWER_USER_SHAPE_ICON&quot;,&quot;Value&quot;:&quot;POWER_USER_SHAPE_ICON_STYLE_1&quot;}">
            <a:extLst>
              <a:ext uri="{FF2B5EF4-FFF2-40B4-BE49-F238E27FC236}">
                <a16:creationId xmlns:a16="http://schemas.microsoft.com/office/drawing/2014/main" id="{9B9D56AE-6FF4-46B7-B54A-0A08B92BE340}"/>
              </a:ext>
            </a:extLst>
          </p:cNvPr>
          <p:cNvSpPr>
            <a:spLocks noChangeAspect="1"/>
          </p:cNvSpPr>
          <p:nvPr>
            <p:custDataLst>
              <p:tags r:id="rId4"/>
            </p:custDataLst>
          </p:nvPr>
        </p:nvSpPr>
        <p:spPr bwMode="auto">
          <a:xfrm>
            <a:off x="4892419" y="4350851"/>
            <a:ext cx="724215" cy="619256"/>
          </a:xfrm>
          <a:custGeom>
            <a:avLst/>
            <a:gdLst>
              <a:gd name="T0" fmla="*/ 1195 w 1250"/>
              <a:gd name="T1" fmla="*/ 671 h 1068"/>
              <a:gd name="T2" fmla="*/ 1074 w 1250"/>
              <a:gd name="T3" fmla="*/ 841 h 1068"/>
              <a:gd name="T4" fmla="*/ 853 w 1250"/>
              <a:gd name="T5" fmla="*/ 1068 h 1068"/>
              <a:gd name="T6" fmla="*/ 922 w 1250"/>
              <a:gd name="T7" fmla="*/ 697 h 1068"/>
              <a:gd name="T8" fmla="*/ 1052 w 1250"/>
              <a:gd name="T9" fmla="*/ 735 h 1068"/>
              <a:gd name="T10" fmla="*/ 1081 w 1250"/>
              <a:gd name="T11" fmla="*/ 743 h 1068"/>
              <a:gd name="T12" fmla="*/ 1089 w 1250"/>
              <a:gd name="T13" fmla="*/ 714 h 1068"/>
              <a:gd name="T14" fmla="*/ 1026 w 1250"/>
              <a:gd name="T15" fmla="*/ 522 h 1068"/>
              <a:gd name="T16" fmla="*/ 1018 w 1250"/>
              <a:gd name="T17" fmla="*/ 466 h 1068"/>
              <a:gd name="T18" fmla="*/ 1129 w 1250"/>
              <a:gd name="T19" fmla="*/ 374 h 1068"/>
              <a:gd name="T20" fmla="*/ 1002 w 1250"/>
              <a:gd name="T21" fmla="*/ 426 h 1068"/>
              <a:gd name="T22" fmla="*/ 892 w 1250"/>
              <a:gd name="T23" fmla="*/ 228 h 1068"/>
              <a:gd name="T24" fmla="*/ 862 w 1250"/>
              <a:gd name="T25" fmla="*/ 198 h 1068"/>
              <a:gd name="T26" fmla="*/ 665 w 1250"/>
              <a:gd name="T27" fmla="*/ 160 h 1068"/>
              <a:gd name="T28" fmla="*/ 622 w 1250"/>
              <a:gd name="T29" fmla="*/ 160 h 1068"/>
              <a:gd name="T30" fmla="*/ 522 w 1250"/>
              <a:gd name="T31" fmla="*/ 239 h 1068"/>
              <a:gd name="T32" fmla="*/ 467 w 1250"/>
              <a:gd name="T33" fmla="*/ 229 h 1068"/>
              <a:gd name="T34" fmla="*/ 379 w 1250"/>
              <a:gd name="T35" fmla="*/ 192 h 1068"/>
              <a:gd name="T36" fmla="*/ 437 w 1250"/>
              <a:gd name="T37" fmla="*/ 262 h 1068"/>
              <a:gd name="T38" fmla="*/ 251 w 1250"/>
              <a:gd name="T39" fmla="*/ 304 h 1068"/>
              <a:gd name="T40" fmla="*/ 238 w 1250"/>
              <a:gd name="T41" fmla="*/ 344 h 1068"/>
              <a:gd name="T42" fmla="*/ 278 w 1250"/>
              <a:gd name="T43" fmla="*/ 408 h 1068"/>
              <a:gd name="T44" fmla="*/ 276 w 1250"/>
              <a:gd name="T45" fmla="*/ 408 h 1068"/>
              <a:gd name="T46" fmla="*/ 135 w 1250"/>
              <a:gd name="T47" fmla="*/ 495 h 1068"/>
              <a:gd name="T48" fmla="*/ 164 w 1250"/>
              <a:gd name="T49" fmla="*/ 496 h 1068"/>
              <a:gd name="T50" fmla="*/ 278 w 1250"/>
              <a:gd name="T51" fmla="*/ 450 h 1068"/>
              <a:gd name="T52" fmla="*/ 278 w 1250"/>
              <a:gd name="T53" fmla="*/ 450 h 1068"/>
              <a:gd name="T54" fmla="*/ 522 w 1250"/>
              <a:gd name="T55" fmla="*/ 281 h 1068"/>
              <a:gd name="T56" fmla="*/ 698 w 1250"/>
              <a:gd name="T57" fmla="*/ 318 h 1068"/>
              <a:gd name="T58" fmla="*/ 621 w 1250"/>
              <a:gd name="T59" fmla="*/ 420 h 1068"/>
              <a:gd name="T60" fmla="*/ 518 w 1250"/>
              <a:gd name="T61" fmla="*/ 473 h 1068"/>
              <a:gd name="T62" fmla="*/ 546 w 1250"/>
              <a:gd name="T63" fmla="*/ 481 h 1068"/>
              <a:gd name="T64" fmla="*/ 654 w 1250"/>
              <a:gd name="T65" fmla="*/ 466 h 1068"/>
              <a:gd name="T66" fmla="*/ 724 w 1250"/>
              <a:gd name="T67" fmla="*/ 591 h 1068"/>
              <a:gd name="T68" fmla="*/ 740 w 1250"/>
              <a:gd name="T69" fmla="*/ 555 h 1068"/>
              <a:gd name="T70" fmla="*/ 695 w 1250"/>
              <a:gd name="T71" fmla="*/ 449 h 1068"/>
              <a:gd name="T72" fmla="*/ 695 w 1250"/>
              <a:gd name="T73" fmla="*/ 445 h 1068"/>
              <a:gd name="T74" fmla="*/ 824 w 1250"/>
              <a:gd name="T75" fmla="*/ 362 h 1068"/>
              <a:gd name="T76" fmla="*/ 825 w 1250"/>
              <a:gd name="T77" fmla="*/ 362 h 1068"/>
              <a:gd name="T78" fmla="*/ 932 w 1250"/>
              <a:gd name="T79" fmla="*/ 514 h 1068"/>
              <a:gd name="T80" fmla="*/ 845 w 1250"/>
              <a:gd name="T81" fmla="*/ 557 h 1068"/>
              <a:gd name="T82" fmla="*/ 932 w 1250"/>
              <a:gd name="T83" fmla="*/ 557 h 1068"/>
              <a:gd name="T84" fmla="*/ 948 w 1250"/>
              <a:gd name="T85" fmla="*/ 623 h 1068"/>
              <a:gd name="T86" fmla="*/ 900 w 1250"/>
              <a:gd name="T87" fmla="*/ 661 h 1068"/>
              <a:gd name="T88" fmla="*/ 810 w 1250"/>
              <a:gd name="T89" fmla="*/ 1068 h 1068"/>
              <a:gd name="T90" fmla="*/ 738 w 1250"/>
              <a:gd name="T91" fmla="*/ 852 h 1068"/>
              <a:gd name="T92" fmla="*/ 542 w 1250"/>
              <a:gd name="T93" fmla="*/ 615 h 1068"/>
              <a:gd name="T94" fmla="*/ 317 w 1250"/>
              <a:gd name="T95" fmla="*/ 615 h 1068"/>
              <a:gd name="T96" fmla="*/ 0 w 1250"/>
              <a:gd name="T97" fmla="*/ 443 h 1068"/>
              <a:gd name="T98" fmla="*/ 321 w 1250"/>
              <a:gd name="T99" fmla="*/ 97 h 1068"/>
              <a:gd name="T100" fmla="*/ 501 w 1250"/>
              <a:gd name="T101" fmla="*/ 10 h 1068"/>
              <a:gd name="T102" fmla="*/ 707 w 1250"/>
              <a:gd name="T103" fmla="*/ 0 h 1068"/>
              <a:gd name="T104" fmla="*/ 890 w 1250"/>
              <a:gd name="T105" fmla="*/ 48 h 1068"/>
              <a:gd name="T106" fmla="*/ 1216 w 1250"/>
              <a:gd name="T107" fmla="*/ 359 h 1068"/>
              <a:gd name="T108" fmla="*/ 1250 w 1250"/>
              <a:gd name="T109" fmla="*/ 53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0" h="1068">
                <a:moveTo>
                  <a:pt x="1250" y="533"/>
                </a:moveTo>
                <a:cubicBezTo>
                  <a:pt x="1250" y="587"/>
                  <a:pt x="1229" y="635"/>
                  <a:pt x="1195" y="671"/>
                </a:cubicBezTo>
                <a:cubicBezTo>
                  <a:pt x="1189" y="747"/>
                  <a:pt x="1141" y="811"/>
                  <a:pt x="1074" y="840"/>
                </a:cubicBezTo>
                <a:lnTo>
                  <a:pt x="1074" y="841"/>
                </a:lnTo>
                <a:cubicBezTo>
                  <a:pt x="992" y="888"/>
                  <a:pt x="943" y="970"/>
                  <a:pt x="928" y="1068"/>
                </a:cubicBezTo>
                <a:lnTo>
                  <a:pt x="853" y="1068"/>
                </a:lnTo>
                <a:lnTo>
                  <a:pt x="853" y="841"/>
                </a:lnTo>
                <a:cubicBezTo>
                  <a:pt x="853" y="770"/>
                  <a:pt x="875" y="725"/>
                  <a:pt x="922" y="697"/>
                </a:cubicBezTo>
                <a:cubicBezTo>
                  <a:pt x="939" y="687"/>
                  <a:pt x="954" y="676"/>
                  <a:pt x="968" y="664"/>
                </a:cubicBezTo>
                <a:cubicBezTo>
                  <a:pt x="1002" y="676"/>
                  <a:pt x="1033" y="700"/>
                  <a:pt x="1052" y="735"/>
                </a:cubicBezTo>
                <a:cubicBezTo>
                  <a:pt x="1056" y="742"/>
                  <a:pt x="1063" y="746"/>
                  <a:pt x="1071" y="746"/>
                </a:cubicBezTo>
                <a:cubicBezTo>
                  <a:pt x="1074" y="746"/>
                  <a:pt x="1078" y="745"/>
                  <a:pt x="1081" y="743"/>
                </a:cubicBezTo>
                <a:cubicBezTo>
                  <a:pt x="1091" y="737"/>
                  <a:pt x="1095" y="724"/>
                  <a:pt x="1089" y="714"/>
                </a:cubicBezTo>
                <a:lnTo>
                  <a:pt x="1089" y="714"/>
                </a:lnTo>
                <a:cubicBezTo>
                  <a:pt x="1067" y="675"/>
                  <a:pt x="1034" y="647"/>
                  <a:pt x="997" y="630"/>
                </a:cubicBezTo>
                <a:cubicBezTo>
                  <a:pt x="1016" y="600"/>
                  <a:pt x="1027" y="565"/>
                  <a:pt x="1026" y="522"/>
                </a:cubicBezTo>
                <a:cubicBezTo>
                  <a:pt x="1026" y="522"/>
                  <a:pt x="1026" y="522"/>
                  <a:pt x="1026" y="522"/>
                </a:cubicBezTo>
                <a:cubicBezTo>
                  <a:pt x="1026" y="502"/>
                  <a:pt x="1024" y="484"/>
                  <a:pt x="1018" y="466"/>
                </a:cubicBezTo>
                <a:cubicBezTo>
                  <a:pt x="1063" y="458"/>
                  <a:pt x="1102" y="435"/>
                  <a:pt x="1130" y="404"/>
                </a:cubicBezTo>
                <a:cubicBezTo>
                  <a:pt x="1138" y="395"/>
                  <a:pt x="1138" y="382"/>
                  <a:pt x="1129" y="374"/>
                </a:cubicBezTo>
                <a:cubicBezTo>
                  <a:pt x="1120" y="366"/>
                  <a:pt x="1107" y="367"/>
                  <a:pt x="1099" y="375"/>
                </a:cubicBezTo>
                <a:cubicBezTo>
                  <a:pt x="1074" y="402"/>
                  <a:pt x="1040" y="421"/>
                  <a:pt x="1002" y="426"/>
                </a:cubicBezTo>
                <a:cubicBezTo>
                  <a:pt x="971" y="369"/>
                  <a:pt x="914" y="328"/>
                  <a:pt x="847" y="321"/>
                </a:cubicBezTo>
                <a:cubicBezTo>
                  <a:pt x="851" y="285"/>
                  <a:pt x="868" y="252"/>
                  <a:pt x="892" y="228"/>
                </a:cubicBezTo>
                <a:cubicBezTo>
                  <a:pt x="900" y="220"/>
                  <a:pt x="900" y="206"/>
                  <a:pt x="892" y="198"/>
                </a:cubicBezTo>
                <a:cubicBezTo>
                  <a:pt x="884" y="190"/>
                  <a:pt x="870" y="190"/>
                  <a:pt x="862" y="198"/>
                </a:cubicBezTo>
                <a:cubicBezTo>
                  <a:pt x="831" y="229"/>
                  <a:pt x="810" y="272"/>
                  <a:pt x="804" y="318"/>
                </a:cubicBezTo>
                <a:cubicBezTo>
                  <a:pt x="725" y="308"/>
                  <a:pt x="665" y="241"/>
                  <a:pt x="665" y="160"/>
                </a:cubicBezTo>
                <a:cubicBezTo>
                  <a:pt x="665" y="148"/>
                  <a:pt x="655" y="139"/>
                  <a:pt x="644" y="139"/>
                </a:cubicBezTo>
                <a:cubicBezTo>
                  <a:pt x="632" y="139"/>
                  <a:pt x="622" y="148"/>
                  <a:pt x="622" y="160"/>
                </a:cubicBezTo>
                <a:cubicBezTo>
                  <a:pt x="622" y="174"/>
                  <a:pt x="624" y="187"/>
                  <a:pt x="626" y="200"/>
                </a:cubicBezTo>
                <a:cubicBezTo>
                  <a:pt x="596" y="226"/>
                  <a:pt x="559" y="239"/>
                  <a:pt x="522" y="239"/>
                </a:cubicBezTo>
                <a:cubicBezTo>
                  <a:pt x="503" y="239"/>
                  <a:pt x="485" y="235"/>
                  <a:pt x="468" y="229"/>
                </a:cubicBezTo>
                <a:cubicBezTo>
                  <a:pt x="468" y="229"/>
                  <a:pt x="467" y="229"/>
                  <a:pt x="467" y="229"/>
                </a:cubicBezTo>
                <a:cubicBezTo>
                  <a:pt x="446" y="221"/>
                  <a:pt x="426" y="209"/>
                  <a:pt x="409" y="192"/>
                </a:cubicBezTo>
                <a:cubicBezTo>
                  <a:pt x="401" y="184"/>
                  <a:pt x="387" y="184"/>
                  <a:pt x="379" y="192"/>
                </a:cubicBezTo>
                <a:cubicBezTo>
                  <a:pt x="371" y="200"/>
                  <a:pt x="371" y="213"/>
                  <a:pt x="379" y="222"/>
                </a:cubicBezTo>
                <a:cubicBezTo>
                  <a:pt x="396" y="239"/>
                  <a:pt x="416" y="253"/>
                  <a:pt x="437" y="262"/>
                </a:cubicBezTo>
                <a:cubicBezTo>
                  <a:pt x="433" y="315"/>
                  <a:pt x="402" y="360"/>
                  <a:pt x="359" y="386"/>
                </a:cubicBezTo>
                <a:cubicBezTo>
                  <a:pt x="335" y="348"/>
                  <a:pt x="297" y="319"/>
                  <a:pt x="251" y="304"/>
                </a:cubicBezTo>
                <a:cubicBezTo>
                  <a:pt x="240" y="300"/>
                  <a:pt x="228" y="307"/>
                  <a:pt x="225" y="318"/>
                </a:cubicBezTo>
                <a:cubicBezTo>
                  <a:pt x="221" y="329"/>
                  <a:pt x="227" y="341"/>
                  <a:pt x="238" y="344"/>
                </a:cubicBezTo>
                <a:cubicBezTo>
                  <a:pt x="272" y="355"/>
                  <a:pt x="300" y="376"/>
                  <a:pt x="319" y="403"/>
                </a:cubicBezTo>
                <a:cubicBezTo>
                  <a:pt x="306" y="406"/>
                  <a:pt x="293" y="408"/>
                  <a:pt x="278" y="408"/>
                </a:cubicBezTo>
                <a:lnTo>
                  <a:pt x="278" y="408"/>
                </a:lnTo>
                <a:lnTo>
                  <a:pt x="276" y="408"/>
                </a:lnTo>
                <a:cubicBezTo>
                  <a:pt x="221" y="408"/>
                  <a:pt x="171" y="430"/>
                  <a:pt x="135" y="465"/>
                </a:cubicBezTo>
                <a:cubicBezTo>
                  <a:pt x="126" y="473"/>
                  <a:pt x="126" y="487"/>
                  <a:pt x="135" y="495"/>
                </a:cubicBezTo>
                <a:cubicBezTo>
                  <a:pt x="139" y="499"/>
                  <a:pt x="144" y="502"/>
                  <a:pt x="150" y="502"/>
                </a:cubicBezTo>
                <a:cubicBezTo>
                  <a:pt x="155" y="502"/>
                  <a:pt x="160" y="500"/>
                  <a:pt x="164" y="496"/>
                </a:cubicBezTo>
                <a:cubicBezTo>
                  <a:pt x="193" y="467"/>
                  <a:pt x="232" y="450"/>
                  <a:pt x="276" y="450"/>
                </a:cubicBezTo>
                <a:lnTo>
                  <a:pt x="278" y="450"/>
                </a:lnTo>
                <a:lnTo>
                  <a:pt x="278" y="450"/>
                </a:lnTo>
                <a:lnTo>
                  <a:pt x="278" y="450"/>
                </a:lnTo>
                <a:cubicBezTo>
                  <a:pt x="380" y="450"/>
                  <a:pt x="465" y="375"/>
                  <a:pt x="478" y="276"/>
                </a:cubicBezTo>
                <a:cubicBezTo>
                  <a:pt x="493" y="279"/>
                  <a:pt x="507" y="281"/>
                  <a:pt x="522" y="281"/>
                </a:cubicBezTo>
                <a:cubicBezTo>
                  <a:pt x="563" y="281"/>
                  <a:pt x="605" y="268"/>
                  <a:pt x="640" y="243"/>
                </a:cubicBezTo>
                <a:cubicBezTo>
                  <a:pt x="653" y="272"/>
                  <a:pt x="673" y="298"/>
                  <a:pt x="698" y="318"/>
                </a:cubicBezTo>
                <a:cubicBezTo>
                  <a:pt x="673" y="348"/>
                  <a:pt x="658" y="385"/>
                  <a:pt x="654" y="423"/>
                </a:cubicBezTo>
                <a:cubicBezTo>
                  <a:pt x="644" y="421"/>
                  <a:pt x="632" y="420"/>
                  <a:pt x="621" y="420"/>
                </a:cubicBezTo>
                <a:cubicBezTo>
                  <a:pt x="589" y="420"/>
                  <a:pt x="557" y="428"/>
                  <a:pt x="527" y="444"/>
                </a:cubicBezTo>
                <a:cubicBezTo>
                  <a:pt x="516" y="449"/>
                  <a:pt x="512" y="462"/>
                  <a:pt x="518" y="473"/>
                </a:cubicBezTo>
                <a:cubicBezTo>
                  <a:pt x="522" y="480"/>
                  <a:pt x="529" y="484"/>
                  <a:pt x="537" y="484"/>
                </a:cubicBezTo>
                <a:cubicBezTo>
                  <a:pt x="540" y="484"/>
                  <a:pt x="543" y="483"/>
                  <a:pt x="546" y="481"/>
                </a:cubicBezTo>
                <a:cubicBezTo>
                  <a:pt x="571" y="469"/>
                  <a:pt x="596" y="463"/>
                  <a:pt x="621" y="463"/>
                </a:cubicBezTo>
                <a:cubicBezTo>
                  <a:pt x="632" y="463"/>
                  <a:pt x="644" y="464"/>
                  <a:pt x="654" y="466"/>
                </a:cubicBezTo>
                <a:cubicBezTo>
                  <a:pt x="659" y="509"/>
                  <a:pt x="677" y="551"/>
                  <a:pt x="709" y="584"/>
                </a:cubicBezTo>
                <a:cubicBezTo>
                  <a:pt x="713" y="589"/>
                  <a:pt x="719" y="591"/>
                  <a:pt x="724" y="591"/>
                </a:cubicBezTo>
                <a:cubicBezTo>
                  <a:pt x="730" y="591"/>
                  <a:pt x="735" y="589"/>
                  <a:pt x="739" y="585"/>
                </a:cubicBezTo>
                <a:cubicBezTo>
                  <a:pt x="748" y="577"/>
                  <a:pt x="748" y="563"/>
                  <a:pt x="740" y="555"/>
                </a:cubicBezTo>
                <a:lnTo>
                  <a:pt x="740" y="555"/>
                </a:lnTo>
                <a:cubicBezTo>
                  <a:pt x="711" y="525"/>
                  <a:pt x="696" y="487"/>
                  <a:pt x="695" y="449"/>
                </a:cubicBezTo>
                <a:cubicBezTo>
                  <a:pt x="695" y="448"/>
                  <a:pt x="695" y="448"/>
                  <a:pt x="695" y="447"/>
                </a:cubicBezTo>
                <a:lnTo>
                  <a:pt x="695" y="445"/>
                </a:lnTo>
                <a:cubicBezTo>
                  <a:pt x="695" y="407"/>
                  <a:pt x="708" y="370"/>
                  <a:pt x="734" y="341"/>
                </a:cubicBezTo>
                <a:cubicBezTo>
                  <a:pt x="761" y="354"/>
                  <a:pt x="791" y="362"/>
                  <a:pt x="824" y="362"/>
                </a:cubicBezTo>
                <a:cubicBezTo>
                  <a:pt x="824" y="362"/>
                  <a:pt x="824" y="362"/>
                  <a:pt x="824" y="362"/>
                </a:cubicBezTo>
                <a:lnTo>
                  <a:pt x="825" y="362"/>
                </a:lnTo>
                <a:cubicBezTo>
                  <a:pt x="912" y="362"/>
                  <a:pt x="984" y="433"/>
                  <a:pt x="984" y="521"/>
                </a:cubicBezTo>
                <a:cubicBezTo>
                  <a:pt x="967" y="517"/>
                  <a:pt x="950" y="514"/>
                  <a:pt x="932" y="514"/>
                </a:cubicBezTo>
                <a:cubicBezTo>
                  <a:pt x="907" y="514"/>
                  <a:pt x="882" y="519"/>
                  <a:pt x="857" y="529"/>
                </a:cubicBezTo>
                <a:cubicBezTo>
                  <a:pt x="846" y="534"/>
                  <a:pt x="841" y="546"/>
                  <a:pt x="845" y="557"/>
                </a:cubicBezTo>
                <a:cubicBezTo>
                  <a:pt x="850" y="568"/>
                  <a:pt x="862" y="573"/>
                  <a:pt x="873" y="568"/>
                </a:cubicBezTo>
                <a:cubicBezTo>
                  <a:pt x="893" y="561"/>
                  <a:pt x="913" y="557"/>
                  <a:pt x="932" y="557"/>
                </a:cubicBezTo>
                <a:cubicBezTo>
                  <a:pt x="948" y="557"/>
                  <a:pt x="964" y="559"/>
                  <a:pt x="979" y="564"/>
                </a:cubicBezTo>
                <a:cubicBezTo>
                  <a:pt x="974" y="587"/>
                  <a:pt x="964" y="606"/>
                  <a:pt x="948" y="623"/>
                </a:cubicBezTo>
                <a:cubicBezTo>
                  <a:pt x="947" y="624"/>
                  <a:pt x="946" y="626"/>
                  <a:pt x="945" y="627"/>
                </a:cubicBezTo>
                <a:cubicBezTo>
                  <a:pt x="933" y="639"/>
                  <a:pt x="918" y="650"/>
                  <a:pt x="900" y="661"/>
                </a:cubicBezTo>
                <a:cubicBezTo>
                  <a:pt x="839" y="696"/>
                  <a:pt x="810" y="761"/>
                  <a:pt x="810" y="841"/>
                </a:cubicBezTo>
                <a:lnTo>
                  <a:pt x="810" y="1068"/>
                </a:lnTo>
                <a:lnTo>
                  <a:pt x="738" y="1068"/>
                </a:lnTo>
                <a:lnTo>
                  <a:pt x="738" y="852"/>
                </a:lnTo>
                <a:cubicBezTo>
                  <a:pt x="738" y="773"/>
                  <a:pt x="688" y="698"/>
                  <a:pt x="626" y="671"/>
                </a:cubicBezTo>
                <a:cubicBezTo>
                  <a:pt x="596" y="660"/>
                  <a:pt x="565" y="640"/>
                  <a:pt x="542" y="615"/>
                </a:cubicBezTo>
                <a:cubicBezTo>
                  <a:pt x="510" y="637"/>
                  <a:pt x="471" y="650"/>
                  <a:pt x="430" y="650"/>
                </a:cubicBezTo>
                <a:cubicBezTo>
                  <a:pt x="388" y="650"/>
                  <a:pt x="349" y="637"/>
                  <a:pt x="317" y="615"/>
                </a:cubicBezTo>
                <a:cubicBezTo>
                  <a:pt x="285" y="636"/>
                  <a:pt x="246" y="648"/>
                  <a:pt x="205" y="648"/>
                </a:cubicBezTo>
                <a:cubicBezTo>
                  <a:pt x="92" y="648"/>
                  <a:pt x="0" y="557"/>
                  <a:pt x="0" y="443"/>
                </a:cubicBezTo>
                <a:cubicBezTo>
                  <a:pt x="0" y="359"/>
                  <a:pt x="51" y="286"/>
                  <a:pt x="124" y="255"/>
                </a:cubicBezTo>
                <a:cubicBezTo>
                  <a:pt x="144" y="164"/>
                  <a:pt x="224" y="97"/>
                  <a:pt x="321" y="97"/>
                </a:cubicBezTo>
                <a:cubicBezTo>
                  <a:pt x="326" y="97"/>
                  <a:pt x="330" y="97"/>
                  <a:pt x="335" y="98"/>
                </a:cubicBezTo>
                <a:cubicBezTo>
                  <a:pt x="371" y="45"/>
                  <a:pt x="432" y="10"/>
                  <a:pt x="501" y="10"/>
                </a:cubicBezTo>
                <a:cubicBezTo>
                  <a:pt x="536" y="10"/>
                  <a:pt x="568" y="18"/>
                  <a:pt x="596" y="33"/>
                </a:cubicBezTo>
                <a:cubicBezTo>
                  <a:pt x="628" y="12"/>
                  <a:pt x="666" y="0"/>
                  <a:pt x="707" y="0"/>
                </a:cubicBezTo>
                <a:cubicBezTo>
                  <a:pt x="759" y="0"/>
                  <a:pt x="807" y="21"/>
                  <a:pt x="843" y="54"/>
                </a:cubicBezTo>
                <a:cubicBezTo>
                  <a:pt x="858" y="50"/>
                  <a:pt x="874" y="48"/>
                  <a:pt x="890" y="48"/>
                </a:cubicBezTo>
                <a:cubicBezTo>
                  <a:pt x="971" y="48"/>
                  <a:pt x="1042" y="97"/>
                  <a:pt x="1073" y="167"/>
                </a:cubicBezTo>
                <a:cubicBezTo>
                  <a:pt x="1156" y="192"/>
                  <a:pt x="1216" y="269"/>
                  <a:pt x="1216" y="359"/>
                </a:cubicBezTo>
                <a:cubicBezTo>
                  <a:pt x="1216" y="377"/>
                  <a:pt x="1213" y="395"/>
                  <a:pt x="1209" y="412"/>
                </a:cubicBezTo>
                <a:cubicBezTo>
                  <a:pt x="1235" y="445"/>
                  <a:pt x="1250" y="488"/>
                  <a:pt x="1250" y="5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nvGrpSpPr>
          <p:cNvPr id="55" name="POWER_USER_ID_ICONS_Big_Ben">
            <a:extLst>
              <a:ext uri="{FF2B5EF4-FFF2-40B4-BE49-F238E27FC236}">
                <a16:creationId xmlns:a16="http://schemas.microsoft.com/office/drawing/2014/main" id="{9B19B1DD-58B9-42DA-9654-15696CA3BF20}"/>
              </a:ext>
            </a:extLst>
          </p:cNvPr>
          <p:cNvGrpSpPr>
            <a:grpSpLocks noChangeAspect="1"/>
          </p:cNvGrpSpPr>
          <p:nvPr>
            <p:custDataLst>
              <p:tags r:id="rId5"/>
            </p:custDataLst>
          </p:nvPr>
        </p:nvGrpSpPr>
        <p:grpSpPr bwMode="auto">
          <a:xfrm>
            <a:off x="6733915" y="1833671"/>
            <a:ext cx="207093" cy="848819"/>
            <a:chOff x="304" y="68"/>
            <a:chExt cx="81" cy="332"/>
          </a:xfrm>
          <a:solidFill>
            <a:schemeClr val="bg1"/>
          </a:solidFill>
        </p:grpSpPr>
        <p:sp>
          <p:nvSpPr>
            <p:cNvPr id="56" name="POWER_USER_ID_ICONS_Big_Ben">
              <a:extLst>
                <a:ext uri="{FF2B5EF4-FFF2-40B4-BE49-F238E27FC236}">
                  <a16:creationId xmlns:a16="http://schemas.microsoft.com/office/drawing/2014/main" id="{ADC75C7A-A981-4C34-B835-1BD11BE7F568}"/>
                </a:ext>
              </a:extLst>
            </p:cNvPr>
            <p:cNvSpPr>
              <a:spLocks noChangeArrowheads="1"/>
            </p:cNvSpPr>
            <p:nvPr>
              <p:custDataLst>
                <p:tags r:id="rId17"/>
              </p:custDataLst>
            </p:nvPr>
          </p:nvSpPr>
          <p:spPr bwMode="auto">
            <a:xfrm>
              <a:off x="311" y="343"/>
              <a:ext cx="10"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7" name="POWER_USER_ID_ICONS_Big_Ben">
              <a:extLst>
                <a:ext uri="{FF2B5EF4-FFF2-40B4-BE49-F238E27FC236}">
                  <a16:creationId xmlns:a16="http://schemas.microsoft.com/office/drawing/2014/main" id="{E9E23C00-A38B-40DA-93C2-2F7A46D39186}"/>
                </a:ext>
              </a:extLst>
            </p:cNvPr>
            <p:cNvSpPr>
              <a:spLocks noChangeArrowheads="1"/>
            </p:cNvSpPr>
            <p:nvPr>
              <p:custDataLst>
                <p:tags r:id="rId18"/>
              </p:custDataLst>
            </p:nvPr>
          </p:nvSpPr>
          <p:spPr bwMode="auto">
            <a:xfrm>
              <a:off x="326" y="388"/>
              <a:ext cx="16" cy="1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8" name="POWER_USER_ID_ICONS_Big_Ben">
              <a:extLst>
                <a:ext uri="{FF2B5EF4-FFF2-40B4-BE49-F238E27FC236}">
                  <a16:creationId xmlns:a16="http://schemas.microsoft.com/office/drawing/2014/main" id="{E73196B3-3F50-4A8F-ACA8-4503E4B0CEFA}"/>
                </a:ext>
              </a:extLst>
            </p:cNvPr>
            <p:cNvSpPr>
              <a:spLocks noChangeArrowheads="1"/>
            </p:cNvSpPr>
            <p:nvPr>
              <p:custDataLst>
                <p:tags r:id="rId19"/>
              </p:custDataLst>
            </p:nvPr>
          </p:nvSpPr>
          <p:spPr bwMode="auto">
            <a:xfrm>
              <a:off x="311" y="298"/>
              <a:ext cx="10"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59" name="POWER_USER_ID_ICONS_Big_Ben">
              <a:extLst>
                <a:ext uri="{FF2B5EF4-FFF2-40B4-BE49-F238E27FC236}">
                  <a16:creationId xmlns:a16="http://schemas.microsoft.com/office/drawing/2014/main" id="{78D9AE91-7D51-415F-BB5B-6DCF68177582}"/>
                </a:ext>
              </a:extLst>
            </p:cNvPr>
            <p:cNvSpPr>
              <a:spLocks noChangeArrowheads="1"/>
            </p:cNvSpPr>
            <p:nvPr>
              <p:custDataLst>
                <p:tags r:id="rId20"/>
              </p:custDataLst>
            </p:nvPr>
          </p:nvSpPr>
          <p:spPr bwMode="auto">
            <a:xfrm>
              <a:off x="311" y="253"/>
              <a:ext cx="10" cy="3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0" name="POWER_USER_ID_ICONS_Big_Ben">
              <a:extLst>
                <a:ext uri="{FF2B5EF4-FFF2-40B4-BE49-F238E27FC236}">
                  <a16:creationId xmlns:a16="http://schemas.microsoft.com/office/drawing/2014/main" id="{B2D2E7AA-2840-4062-AE89-02171242A594}"/>
                </a:ext>
              </a:extLst>
            </p:cNvPr>
            <p:cNvSpPr>
              <a:spLocks noChangeArrowheads="1"/>
            </p:cNvSpPr>
            <p:nvPr>
              <p:custDataLst>
                <p:tags r:id="rId21"/>
              </p:custDataLst>
            </p:nvPr>
          </p:nvSpPr>
          <p:spPr bwMode="auto">
            <a:xfrm>
              <a:off x="311" y="388"/>
              <a:ext cx="10" cy="1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1" name="POWER_USER_ID_ICONS_Big_Ben">
              <a:extLst>
                <a:ext uri="{FF2B5EF4-FFF2-40B4-BE49-F238E27FC236}">
                  <a16:creationId xmlns:a16="http://schemas.microsoft.com/office/drawing/2014/main" id="{AFB9383B-748B-4E58-9C79-1F213FF74F52}"/>
                </a:ext>
              </a:extLst>
            </p:cNvPr>
            <p:cNvSpPr>
              <a:spLocks noChangeArrowheads="1"/>
            </p:cNvSpPr>
            <p:nvPr>
              <p:custDataLst>
                <p:tags r:id="rId22"/>
              </p:custDataLst>
            </p:nvPr>
          </p:nvSpPr>
          <p:spPr bwMode="auto">
            <a:xfrm>
              <a:off x="368" y="253"/>
              <a:ext cx="10" cy="3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2" name="POWER_USER_ID_ICONS_Big_Ben">
              <a:extLst>
                <a:ext uri="{FF2B5EF4-FFF2-40B4-BE49-F238E27FC236}">
                  <a16:creationId xmlns:a16="http://schemas.microsoft.com/office/drawing/2014/main" id="{3B209C6D-C091-4AC0-B218-A90009D27514}"/>
                </a:ext>
              </a:extLst>
            </p:cNvPr>
            <p:cNvSpPr>
              <a:spLocks noChangeArrowheads="1"/>
            </p:cNvSpPr>
            <p:nvPr>
              <p:custDataLst>
                <p:tags r:id="rId23"/>
              </p:custDataLst>
            </p:nvPr>
          </p:nvSpPr>
          <p:spPr bwMode="auto">
            <a:xfrm>
              <a:off x="368" y="343"/>
              <a:ext cx="10"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3" name="POWER_USER_ID_ICONS_Big_Ben">
              <a:extLst>
                <a:ext uri="{FF2B5EF4-FFF2-40B4-BE49-F238E27FC236}">
                  <a16:creationId xmlns:a16="http://schemas.microsoft.com/office/drawing/2014/main" id="{C40355F4-09CD-4DB7-8AF6-FA28500F51BE}"/>
                </a:ext>
              </a:extLst>
            </p:cNvPr>
            <p:cNvSpPr>
              <a:spLocks noChangeArrowheads="1"/>
            </p:cNvSpPr>
            <p:nvPr>
              <p:custDataLst>
                <p:tags r:id="rId24"/>
              </p:custDataLst>
            </p:nvPr>
          </p:nvSpPr>
          <p:spPr bwMode="auto">
            <a:xfrm>
              <a:off x="347" y="388"/>
              <a:ext cx="15" cy="1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4" name="POWER_USER_ID_ICONS_Big_Ben">
              <a:extLst>
                <a:ext uri="{FF2B5EF4-FFF2-40B4-BE49-F238E27FC236}">
                  <a16:creationId xmlns:a16="http://schemas.microsoft.com/office/drawing/2014/main" id="{DC4B54AB-9175-4EF6-A51B-FC2D812D6269}"/>
                </a:ext>
              </a:extLst>
            </p:cNvPr>
            <p:cNvSpPr>
              <a:spLocks noChangeArrowheads="1"/>
            </p:cNvSpPr>
            <p:nvPr>
              <p:custDataLst>
                <p:tags r:id="rId25"/>
              </p:custDataLst>
            </p:nvPr>
          </p:nvSpPr>
          <p:spPr bwMode="auto">
            <a:xfrm>
              <a:off x="368" y="388"/>
              <a:ext cx="10" cy="1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5" name="POWER_USER_ID_ICONS_Big_Ben">
              <a:extLst>
                <a:ext uri="{FF2B5EF4-FFF2-40B4-BE49-F238E27FC236}">
                  <a16:creationId xmlns:a16="http://schemas.microsoft.com/office/drawing/2014/main" id="{1EAE9E00-C5AC-48C6-9347-2703238CE1E9}"/>
                </a:ext>
              </a:extLst>
            </p:cNvPr>
            <p:cNvSpPr>
              <a:spLocks noChangeArrowheads="1"/>
            </p:cNvSpPr>
            <p:nvPr>
              <p:custDataLst>
                <p:tags r:id="rId26"/>
              </p:custDataLst>
            </p:nvPr>
          </p:nvSpPr>
          <p:spPr bwMode="auto">
            <a:xfrm>
              <a:off x="368" y="298"/>
              <a:ext cx="10"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6" name="POWER_USER_ID_ICONS_Big_Ben">
              <a:extLst>
                <a:ext uri="{FF2B5EF4-FFF2-40B4-BE49-F238E27FC236}">
                  <a16:creationId xmlns:a16="http://schemas.microsoft.com/office/drawing/2014/main" id="{5A7BB446-0341-4148-8603-15D2DF3A082C}"/>
                </a:ext>
              </a:extLst>
            </p:cNvPr>
            <p:cNvSpPr>
              <a:spLocks noChangeArrowheads="1"/>
            </p:cNvSpPr>
            <p:nvPr>
              <p:custDataLst>
                <p:tags r:id="rId27"/>
              </p:custDataLst>
            </p:nvPr>
          </p:nvSpPr>
          <p:spPr bwMode="auto">
            <a:xfrm>
              <a:off x="347" y="298"/>
              <a:ext cx="15"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7" name="POWER_USER_ID_ICONS_Big_Ben">
              <a:extLst>
                <a:ext uri="{FF2B5EF4-FFF2-40B4-BE49-F238E27FC236}">
                  <a16:creationId xmlns:a16="http://schemas.microsoft.com/office/drawing/2014/main" id="{2DF95C87-071C-4F6B-B0CD-033FB7B4435C}"/>
                </a:ext>
              </a:extLst>
            </p:cNvPr>
            <p:cNvSpPr>
              <a:spLocks noChangeArrowheads="1"/>
            </p:cNvSpPr>
            <p:nvPr>
              <p:custDataLst>
                <p:tags r:id="rId28"/>
              </p:custDataLst>
            </p:nvPr>
          </p:nvSpPr>
          <p:spPr bwMode="auto">
            <a:xfrm>
              <a:off x="347" y="343"/>
              <a:ext cx="15"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8" name="POWER_USER_ID_ICONS_Big_Ben">
              <a:extLst>
                <a:ext uri="{FF2B5EF4-FFF2-40B4-BE49-F238E27FC236}">
                  <a16:creationId xmlns:a16="http://schemas.microsoft.com/office/drawing/2014/main" id="{0E7494EA-5277-424B-A644-66D3FF630072}"/>
                </a:ext>
              </a:extLst>
            </p:cNvPr>
            <p:cNvSpPr>
              <a:spLocks noChangeArrowheads="1"/>
            </p:cNvSpPr>
            <p:nvPr>
              <p:custDataLst>
                <p:tags r:id="rId29"/>
              </p:custDataLst>
            </p:nvPr>
          </p:nvSpPr>
          <p:spPr bwMode="auto">
            <a:xfrm>
              <a:off x="326" y="343"/>
              <a:ext cx="16"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69" name="POWER_USER_ID_ICONS_Big_Ben">
              <a:extLst>
                <a:ext uri="{FF2B5EF4-FFF2-40B4-BE49-F238E27FC236}">
                  <a16:creationId xmlns:a16="http://schemas.microsoft.com/office/drawing/2014/main" id="{44E63D37-7025-4252-96B3-34FFB8D1BE58}"/>
                </a:ext>
              </a:extLst>
            </p:cNvPr>
            <p:cNvSpPr>
              <a:spLocks noChangeArrowheads="1"/>
            </p:cNvSpPr>
            <p:nvPr>
              <p:custDataLst>
                <p:tags r:id="rId30"/>
              </p:custDataLst>
            </p:nvPr>
          </p:nvSpPr>
          <p:spPr bwMode="auto">
            <a:xfrm>
              <a:off x="326" y="298"/>
              <a:ext cx="16" cy="4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0" name="POWER_USER_ID_ICONS_Big_Ben">
              <a:extLst>
                <a:ext uri="{FF2B5EF4-FFF2-40B4-BE49-F238E27FC236}">
                  <a16:creationId xmlns:a16="http://schemas.microsoft.com/office/drawing/2014/main" id="{C4EA9EAF-9343-48DE-96B5-841A3F982B79}"/>
                </a:ext>
              </a:extLst>
            </p:cNvPr>
            <p:cNvSpPr>
              <a:spLocks noChangeArrowheads="1"/>
            </p:cNvSpPr>
            <p:nvPr>
              <p:custDataLst>
                <p:tags r:id="rId31"/>
              </p:custDataLst>
            </p:nvPr>
          </p:nvSpPr>
          <p:spPr bwMode="auto">
            <a:xfrm>
              <a:off x="347" y="253"/>
              <a:ext cx="15" cy="3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1" name="POWER_USER_ID_ICONS_Big_Ben">
              <a:extLst>
                <a:ext uri="{FF2B5EF4-FFF2-40B4-BE49-F238E27FC236}">
                  <a16:creationId xmlns:a16="http://schemas.microsoft.com/office/drawing/2014/main" id="{520E14A0-A4D7-4447-80D4-A86D90A603CA}"/>
                </a:ext>
              </a:extLst>
            </p:cNvPr>
            <p:cNvSpPr>
              <a:spLocks noChangeArrowheads="1"/>
            </p:cNvSpPr>
            <p:nvPr>
              <p:custDataLst>
                <p:tags r:id="rId32"/>
              </p:custDataLst>
            </p:nvPr>
          </p:nvSpPr>
          <p:spPr bwMode="auto">
            <a:xfrm>
              <a:off x="326" y="253"/>
              <a:ext cx="16" cy="3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2" name="POWER_USER_ID_ICONS_Big_Ben">
              <a:extLst>
                <a:ext uri="{FF2B5EF4-FFF2-40B4-BE49-F238E27FC236}">
                  <a16:creationId xmlns:a16="http://schemas.microsoft.com/office/drawing/2014/main" id="{2BBC1AFB-4C1F-491B-AAAA-3ECF064EE3C7}"/>
                </a:ext>
              </a:extLst>
            </p:cNvPr>
            <p:cNvSpPr>
              <a:spLocks/>
            </p:cNvSpPr>
            <p:nvPr>
              <p:custDataLst>
                <p:tags r:id="rId33"/>
              </p:custDataLst>
            </p:nvPr>
          </p:nvSpPr>
          <p:spPr bwMode="auto">
            <a:xfrm>
              <a:off x="338" y="196"/>
              <a:ext cx="13" cy="12"/>
            </a:xfrm>
            <a:custGeom>
              <a:avLst/>
              <a:gdLst>
                <a:gd name="T0" fmla="*/ 109 w 194"/>
                <a:gd name="T1" fmla="*/ 96 h 192"/>
                <a:gd name="T2" fmla="*/ 97 w 194"/>
                <a:gd name="T3" fmla="*/ 108 h 192"/>
                <a:gd name="T4" fmla="*/ 84 w 194"/>
                <a:gd name="T5" fmla="*/ 96 h 192"/>
                <a:gd name="T6" fmla="*/ 84 w 194"/>
                <a:gd name="T7" fmla="*/ 91 h 192"/>
                <a:gd name="T8" fmla="*/ 62 w 194"/>
                <a:gd name="T9" fmla="*/ 91 h 192"/>
                <a:gd name="T10" fmla="*/ 49 w 194"/>
                <a:gd name="T11" fmla="*/ 79 h 192"/>
                <a:gd name="T12" fmla="*/ 62 w 194"/>
                <a:gd name="T13" fmla="*/ 66 h 192"/>
                <a:gd name="T14" fmla="*/ 84 w 194"/>
                <a:gd name="T15" fmla="*/ 66 h 192"/>
                <a:gd name="T16" fmla="*/ 84 w 194"/>
                <a:gd name="T17" fmla="*/ 0 h 192"/>
                <a:gd name="T18" fmla="*/ 0 w 194"/>
                <a:gd name="T19" fmla="*/ 96 h 192"/>
                <a:gd name="T20" fmla="*/ 97 w 194"/>
                <a:gd name="T21" fmla="*/ 192 h 192"/>
                <a:gd name="T22" fmla="*/ 194 w 194"/>
                <a:gd name="T23" fmla="*/ 96 h 192"/>
                <a:gd name="T24" fmla="*/ 193 w 194"/>
                <a:gd name="T25" fmla="*/ 91 h 192"/>
                <a:gd name="T26" fmla="*/ 109 w 194"/>
                <a:gd name="T27" fmla="*/ 91 h 192"/>
                <a:gd name="T28" fmla="*/ 109 w 194"/>
                <a:gd name="T29"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 h="192">
                  <a:moveTo>
                    <a:pt x="109" y="96"/>
                  </a:moveTo>
                  <a:cubicBezTo>
                    <a:pt x="109" y="103"/>
                    <a:pt x="104" y="108"/>
                    <a:pt x="97" y="108"/>
                  </a:cubicBezTo>
                  <a:cubicBezTo>
                    <a:pt x="90" y="108"/>
                    <a:pt x="84" y="103"/>
                    <a:pt x="84" y="96"/>
                  </a:cubicBezTo>
                  <a:lnTo>
                    <a:pt x="84" y="91"/>
                  </a:lnTo>
                  <a:lnTo>
                    <a:pt x="62" y="91"/>
                  </a:lnTo>
                  <a:cubicBezTo>
                    <a:pt x="55" y="91"/>
                    <a:pt x="49" y="86"/>
                    <a:pt x="49" y="79"/>
                  </a:cubicBezTo>
                  <a:cubicBezTo>
                    <a:pt x="49" y="72"/>
                    <a:pt x="55" y="66"/>
                    <a:pt x="62" y="66"/>
                  </a:cubicBezTo>
                  <a:lnTo>
                    <a:pt x="84" y="66"/>
                  </a:lnTo>
                  <a:lnTo>
                    <a:pt x="84" y="0"/>
                  </a:lnTo>
                  <a:cubicBezTo>
                    <a:pt x="37" y="6"/>
                    <a:pt x="0" y="47"/>
                    <a:pt x="0" y="96"/>
                  </a:cubicBezTo>
                  <a:cubicBezTo>
                    <a:pt x="0" y="149"/>
                    <a:pt x="44" y="192"/>
                    <a:pt x="97" y="192"/>
                  </a:cubicBezTo>
                  <a:cubicBezTo>
                    <a:pt x="150" y="192"/>
                    <a:pt x="194" y="149"/>
                    <a:pt x="194" y="96"/>
                  </a:cubicBezTo>
                  <a:cubicBezTo>
                    <a:pt x="194" y="94"/>
                    <a:pt x="193" y="93"/>
                    <a:pt x="193" y="91"/>
                  </a:cubicBezTo>
                  <a:lnTo>
                    <a:pt x="109" y="91"/>
                  </a:lnTo>
                  <a:lnTo>
                    <a:pt x="109" y="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3" name="POWER_USER_ID_ICONS_Big_Ben">
              <a:extLst>
                <a:ext uri="{FF2B5EF4-FFF2-40B4-BE49-F238E27FC236}">
                  <a16:creationId xmlns:a16="http://schemas.microsoft.com/office/drawing/2014/main" id="{BA71357C-EB3F-416F-8EC0-C6B09CC402D8}"/>
                </a:ext>
              </a:extLst>
            </p:cNvPr>
            <p:cNvSpPr>
              <a:spLocks/>
            </p:cNvSpPr>
            <p:nvPr>
              <p:custDataLst>
                <p:tags r:id="rId34"/>
              </p:custDataLst>
            </p:nvPr>
          </p:nvSpPr>
          <p:spPr bwMode="auto">
            <a:xfrm>
              <a:off x="345" y="196"/>
              <a:ext cx="5" cy="4"/>
            </a:xfrm>
            <a:custGeom>
              <a:avLst/>
              <a:gdLst>
                <a:gd name="T0" fmla="*/ 80 w 80"/>
                <a:gd name="T1" fmla="*/ 66 h 66"/>
                <a:gd name="T2" fmla="*/ 0 w 80"/>
                <a:gd name="T3" fmla="*/ 0 h 66"/>
                <a:gd name="T4" fmla="*/ 0 w 80"/>
                <a:gd name="T5" fmla="*/ 66 h 66"/>
                <a:gd name="T6" fmla="*/ 80 w 80"/>
                <a:gd name="T7" fmla="*/ 66 h 66"/>
              </a:gdLst>
              <a:ahLst/>
              <a:cxnLst>
                <a:cxn ang="0">
                  <a:pos x="T0" y="T1"/>
                </a:cxn>
                <a:cxn ang="0">
                  <a:pos x="T2" y="T3"/>
                </a:cxn>
                <a:cxn ang="0">
                  <a:pos x="T4" y="T5"/>
                </a:cxn>
                <a:cxn ang="0">
                  <a:pos x="T6" y="T7"/>
                </a:cxn>
              </a:cxnLst>
              <a:rect l="0" t="0" r="r" b="b"/>
              <a:pathLst>
                <a:path w="80" h="66">
                  <a:moveTo>
                    <a:pt x="80" y="66"/>
                  </a:moveTo>
                  <a:cubicBezTo>
                    <a:pt x="69" y="31"/>
                    <a:pt x="38" y="5"/>
                    <a:pt x="0" y="0"/>
                  </a:cubicBezTo>
                  <a:lnTo>
                    <a:pt x="0" y="66"/>
                  </a:lnTo>
                  <a:lnTo>
                    <a:pt x="80" y="6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4" name="POWER_USER_ID_ICONS_Big_Ben">
              <a:extLst>
                <a:ext uri="{FF2B5EF4-FFF2-40B4-BE49-F238E27FC236}">
                  <a16:creationId xmlns:a16="http://schemas.microsoft.com/office/drawing/2014/main" id="{9E43B9E2-B295-4160-84FF-D12950F93A09}"/>
                </a:ext>
              </a:extLst>
            </p:cNvPr>
            <p:cNvSpPr>
              <a:spLocks noEditPoints="1"/>
            </p:cNvSpPr>
            <p:nvPr>
              <p:custDataLst>
                <p:tags r:id="rId35"/>
              </p:custDataLst>
            </p:nvPr>
          </p:nvSpPr>
          <p:spPr bwMode="auto">
            <a:xfrm>
              <a:off x="326" y="184"/>
              <a:ext cx="36" cy="36"/>
            </a:xfrm>
            <a:custGeom>
              <a:avLst/>
              <a:gdLst>
                <a:gd name="T0" fmla="*/ 279 w 557"/>
                <a:gd name="T1" fmla="*/ 0 h 557"/>
                <a:gd name="T2" fmla="*/ 0 w 557"/>
                <a:gd name="T3" fmla="*/ 279 h 557"/>
                <a:gd name="T4" fmla="*/ 279 w 557"/>
                <a:gd name="T5" fmla="*/ 557 h 557"/>
                <a:gd name="T6" fmla="*/ 557 w 557"/>
                <a:gd name="T7" fmla="*/ 279 h 557"/>
                <a:gd name="T8" fmla="*/ 279 w 557"/>
                <a:gd name="T9" fmla="*/ 0 h 557"/>
                <a:gd name="T10" fmla="*/ 432 w 557"/>
                <a:gd name="T11" fmla="*/ 274 h 557"/>
                <a:gd name="T12" fmla="*/ 388 w 557"/>
                <a:gd name="T13" fmla="*/ 274 h 557"/>
                <a:gd name="T14" fmla="*/ 388 w 557"/>
                <a:gd name="T15" fmla="*/ 279 h 557"/>
                <a:gd name="T16" fmla="*/ 279 w 557"/>
                <a:gd name="T17" fmla="*/ 388 h 557"/>
                <a:gd name="T18" fmla="*/ 170 w 557"/>
                <a:gd name="T19" fmla="*/ 279 h 557"/>
                <a:gd name="T20" fmla="*/ 266 w 557"/>
                <a:gd name="T21" fmla="*/ 170 h 557"/>
                <a:gd name="T22" fmla="*/ 266 w 557"/>
                <a:gd name="T23" fmla="*/ 27 h 557"/>
                <a:gd name="T24" fmla="*/ 279 w 557"/>
                <a:gd name="T25" fmla="*/ 15 h 557"/>
                <a:gd name="T26" fmla="*/ 291 w 557"/>
                <a:gd name="T27" fmla="*/ 27 h 557"/>
                <a:gd name="T28" fmla="*/ 291 w 557"/>
                <a:gd name="T29" fmla="*/ 170 h 557"/>
                <a:gd name="T30" fmla="*/ 384 w 557"/>
                <a:gd name="T31" fmla="*/ 249 h 557"/>
                <a:gd name="T32" fmla="*/ 432 w 557"/>
                <a:gd name="T33" fmla="*/ 249 h 557"/>
                <a:gd name="T34" fmla="*/ 445 w 557"/>
                <a:gd name="T35" fmla="*/ 262 h 557"/>
                <a:gd name="T36" fmla="*/ 432 w 557"/>
                <a:gd name="T37" fmla="*/ 274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57" h="557">
                  <a:moveTo>
                    <a:pt x="279" y="0"/>
                  </a:moveTo>
                  <a:cubicBezTo>
                    <a:pt x="125" y="0"/>
                    <a:pt x="0" y="125"/>
                    <a:pt x="0" y="279"/>
                  </a:cubicBezTo>
                  <a:cubicBezTo>
                    <a:pt x="0" y="432"/>
                    <a:pt x="125" y="557"/>
                    <a:pt x="279" y="557"/>
                  </a:cubicBezTo>
                  <a:cubicBezTo>
                    <a:pt x="432" y="557"/>
                    <a:pt x="557" y="432"/>
                    <a:pt x="557" y="279"/>
                  </a:cubicBezTo>
                  <a:cubicBezTo>
                    <a:pt x="557" y="125"/>
                    <a:pt x="433" y="0"/>
                    <a:pt x="279" y="0"/>
                  </a:cubicBezTo>
                  <a:close/>
                  <a:moveTo>
                    <a:pt x="432" y="274"/>
                  </a:moveTo>
                  <a:lnTo>
                    <a:pt x="388" y="274"/>
                  </a:lnTo>
                  <a:cubicBezTo>
                    <a:pt x="388" y="276"/>
                    <a:pt x="388" y="277"/>
                    <a:pt x="388" y="279"/>
                  </a:cubicBezTo>
                  <a:cubicBezTo>
                    <a:pt x="388" y="339"/>
                    <a:pt x="339" y="388"/>
                    <a:pt x="279" y="388"/>
                  </a:cubicBezTo>
                  <a:cubicBezTo>
                    <a:pt x="219" y="388"/>
                    <a:pt x="170" y="339"/>
                    <a:pt x="170" y="279"/>
                  </a:cubicBezTo>
                  <a:cubicBezTo>
                    <a:pt x="170" y="223"/>
                    <a:pt x="212" y="177"/>
                    <a:pt x="266" y="170"/>
                  </a:cubicBezTo>
                  <a:lnTo>
                    <a:pt x="266" y="27"/>
                  </a:lnTo>
                  <a:cubicBezTo>
                    <a:pt x="266" y="21"/>
                    <a:pt x="272" y="15"/>
                    <a:pt x="279" y="15"/>
                  </a:cubicBezTo>
                  <a:cubicBezTo>
                    <a:pt x="286" y="15"/>
                    <a:pt x="291" y="21"/>
                    <a:pt x="291" y="27"/>
                  </a:cubicBezTo>
                  <a:lnTo>
                    <a:pt x="291" y="170"/>
                  </a:lnTo>
                  <a:cubicBezTo>
                    <a:pt x="336" y="175"/>
                    <a:pt x="372" y="207"/>
                    <a:pt x="384" y="249"/>
                  </a:cubicBezTo>
                  <a:lnTo>
                    <a:pt x="432" y="249"/>
                  </a:lnTo>
                  <a:cubicBezTo>
                    <a:pt x="439" y="249"/>
                    <a:pt x="445" y="255"/>
                    <a:pt x="445" y="262"/>
                  </a:cubicBezTo>
                  <a:cubicBezTo>
                    <a:pt x="445" y="269"/>
                    <a:pt x="439" y="274"/>
                    <a:pt x="432" y="2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5" name="POWER_USER_ID_ICONS_Big_Ben">
              <a:extLst>
                <a:ext uri="{FF2B5EF4-FFF2-40B4-BE49-F238E27FC236}">
                  <a16:creationId xmlns:a16="http://schemas.microsoft.com/office/drawing/2014/main" id="{B9593933-65E2-4F0B-AA05-656DBF03F160}"/>
                </a:ext>
              </a:extLst>
            </p:cNvPr>
            <p:cNvSpPr>
              <a:spLocks/>
            </p:cNvSpPr>
            <p:nvPr>
              <p:custDataLst>
                <p:tags r:id="rId36"/>
              </p:custDataLst>
            </p:nvPr>
          </p:nvSpPr>
          <p:spPr bwMode="auto">
            <a:xfrm>
              <a:off x="322" y="68"/>
              <a:ext cx="45" cy="74"/>
            </a:xfrm>
            <a:custGeom>
              <a:avLst/>
              <a:gdLst>
                <a:gd name="T0" fmla="*/ 0 w 698"/>
                <a:gd name="T1" fmla="*/ 1150 h 1153"/>
                <a:gd name="T2" fmla="*/ 10 w 698"/>
                <a:gd name="T3" fmla="*/ 1137 h 1153"/>
                <a:gd name="T4" fmla="*/ 348 w 698"/>
                <a:gd name="T5" fmla="*/ 1137 h 1153"/>
                <a:gd name="T6" fmla="*/ 686 w 698"/>
                <a:gd name="T7" fmla="*/ 1137 h 1153"/>
                <a:gd name="T8" fmla="*/ 698 w 698"/>
                <a:gd name="T9" fmla="*/ 1153 h 1153"/>
                <a:gd name="T10" fmla="*/ 523 w 698"/>
                <a:gd name="T11" fmla="*/ 912 h 1153"/>
                <a:gd name="T12" fmla="*/ 566 w 698"/>
                <a:gd name="T13" fmla="*/ 912 h 1153"/>
                <a:gd name="T14" fmla="*/ 566 w 698"/>
                <a:gd name="T15" fmla="*/ 670 h 1153"/>
                <a:gd name="T16" fmla="*/ 438 w 698"/>
                <a:gd name="T17" fmla="*/ 434 h 1153"/>
                <a:gd name="T18" fmla="*/ 348 w 698"/>
                <a:gd name="T19" fmla="*/ 0 h 1153"/>
                <a:gd name="T20" fmla="*/ 258 w 698"/>
                <a:gd name="T21" fmla="*/ 434 h 1153"/>
                <a:gd name="T22" fmla="*/ 130 w 698"/>
                <a:gd name="T23" fmla="*/ 670 h 1153"/>
                <a:gd name="T24" fmla="*/ 130 w 698"/>
                <a:gd name="T25" fmla="*/ 912 h 1153"/>
                <a:gd name="T26" fmla="*/ 173 w 698"/>
                <a:gd name="T27" fmla="*/ 912 h 1153"/>
                <a:gd name="T28" fmla="*/ 0 w 698"/>
                <a:gd name="T29" fmla="*/ 1150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8" h="1153">
                  <a:moveTo>
                    <a:pt x="0" y="1150"/>
                  </a:moveTo>
                  <a:lnTo>
                    <a:pt x="10" y="1137"/>
                  </a:lnTo>
                  <a:lnTo>
                    <a:pt x="348" y="1137"/>
                  </a:lnTo>
                  <a:lnTo>
                    <a:pt x="686" y="1137"/>
                  </a:lnTo>
                  <a:lnTo>
                    <a:pt x="698" y="1153"/>
                  </a:lnTo>
                  <a:lnTo>
                    <a:pt x="523" y="912"/>
                  </a:lnTo>
                  <a:lnTo>
                    <a:pt x="566" y="912"/>
                  </a:lnTo>
                  <a:lnTo>
                    <a:pt x="566" y="670"/>
                  </a:lnTo>
                  <a:cubicBezTo>
                    <a:pt x="515" y="596"/>
                    <a:pt x="472" y="517"/>
                    <a:pt x="438" y="434"/>
                  </a:cubicBezTo>
                  <a:cubicBezTo>
                    <a:pt x="382" y="297"/>
                    <a:pt x="353" y="148"/>
                    <a:pt x="348" y="0"/>
                  </a:cubicBezTo>
                  <a:cubicBezTo>
                    <a:pt x="343" y="148"/>
                    <a:pt x="313" y="297"/>
                    <a:pt x="258" y="434"/>
                  </a:cubicBezTo>
                  <a:cubicBezTo>
                    <a:pt x="224" y="517"/>
                    <a:pt x="180" y="596"/>
                    <a:pt x="130" y="670"/>
                  </a:cubicBezTo>
                  <a:lnTo>
                    <a:pt x="130" y="912"/>
                  </a:lnTo>
                  <a:lnTo>
                    <a:pt x="173" y="912"/>
                  </a:lnTo>
                  <a:cubicBezTo>
                    <a:pt x="115" y="992"/>
                    <a:pt x="58" y="1071"/>
                    <a:pt x="0" y="11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6" name="POWER_USER_ID_ICONS_Big_Ben">
              <a:extLst>
                <a:ext uri="{FF2B5EF4-FFF2-40B4-BE49-F238E27FC236}">
                  <a16:creationId xmlns:a16="http://schemas.microsoft.com/office/drawing/2014/main" id="{89FD99E7-4FA5-46B4-AD9E-205CBFEA32C1}"/>
                </a:ext>
              </a:extLst>
            </p:cNvPr>
            <p:cNvSpPr>
              <a:spLocks noEditPoints="1"/>
            </p:cNvSpPr>
            <p:nvPr>
              <p:custDataLst>
                <p:tags r:id="rId37"/>
              </p:custDataLst>
            </p:nvPr>
          </p:nvSpPr>
          <p:spPr bwMode="auto">
            <a:xfrm>
              <a:off x="304" y="143"/>
              <a:ext cx="81" cy="104"/>
            </a:xfrm>
            <a:custGeom>
              <a:avLst/>
              <a:gdLst>
                <a:gd name="T0" fmla="*/ 1139 w 1270"/>
                <a:gd name="T1" fmla="*/ 517 h 1614"/>
                <a:gd name="T2" fmla="*/ 635 w 1270"/>
                <a:gd name="T3" fmla="*/ 0 h 1614"/>
                <a:gd name="T4" fmla="*/ 130 w 1270"/>
                <a:gd name="T5" fmla="*/ 517 h 1614"/>
                <a:gd name="T6" fmla="*/ 0 w 1270"/>
                <a:gd name="T7" fmla="*/ 1291 h 1614"/>
                <a:gd name="T8" fmla="*/ 116 w 1270"/>
                <a:gd name="T9" fmla="*/ 1614 h 1614"/>
                <a:gd name="T10" fmla="*/ 356 w 1270"/>
                <a:gd name="T11" fmla="*/ 1506 h 1614"/>
                <a:gd name="T12" fmla="*/ 591 w 1270"/>
                <a:gd name="T13" fmla="*/ 1506 h 1614"/>
                <a:gd name="T14" fmla="*/ 678 w 1270"/>
                <a:gd name="T15" fmla="*/ 1614 h 1614"/>
                <a:gd name="T16" fmla="*/ 1001 w 1270"/>
                <a:gd name="T17" fmla="*/ 1506 h 1614"/>
                <a:gd name="T18" fmla="*/ 1153 w 1270"/>
                <a:gd name="T19" fmla="*/ 1506 h 1614"/>
                <a:gd name="T20" fmla="*/ 1226 w 1270"/>
                <a:gd name="T21" fmla="*/ 1291 h 1614"/>
                <a:gd name="T22" fmla="*/ 1016 w 1270"/>
                <a:gd name="T23" fmla="*/ 500 h 1614"/>
                <a:gd name="T24" fmla="*/ 878 w 1270"/>
                <a:gd name="T25" fmla="*/ 44 h 1614"/>
                <a:gd name="T26" fmla="*/ 878 w 1270"/>
                <a:gd name="T27" fmla="*/ 218 h 1614"/>
                <a:gd name="T28" fmla="*/ 902 w 1270"/>
                <a:gd name="T29" fmla="*/ 335 h 1614"/>
                <a:gd name="T30" fmla="*/ 832 w 1270"/>
                <a:gd name="T31" fmla="*/ 335 h 1614"/>
                <a:gd name="T32" fmla="*/ 791 w 1270"/>
                <a:gd name="T33" fmla="*/ 218 h 1614"/>
                <a:gd name="T34" fmla="*/ 718 w 1270"/>
                <a:gd name="T35" fmla="*/ 335 h 1614"/>
                <a:gd name="T36" fmla="*/ 718 w 1270"/>
                <a:gd name="T37" fmla="*/ 500 h 1614"/>
                <a:gd name="T38" fmla="*/ 635 w 1270"/>
                <a:gd name="T39" fmla="*/ 44 h 1614"/>
                <a:gd name="T40" fmla="*/ 635 w 1270"/>
                <a:gd name="T41" fmla="*/ 218 h 1614"/>
                <a:gd name="T42" fmla="*/ 600 w 1270"/>
                <a:gd name="T43" fmla="*/ 335 h 1614"/>
                <a:gd name="T44" fmla="*/ 600 w 1270"/>
                <a:gd name="T45" fmla="*/ 500 h 1614"/>
                <a:gd name="T46" fmla="*/ 522 w 1270"/>
                <a:gd name="T47" fmla="*/ 44 h 1614"/>
                <a:gd name="T48" fmla="*/ 479 w 1270"/>
                <a:gd name="T49" fmla="*/ 44 h 1614"/>
                <a:gd name="T50" fmla="*/ 481 w 1270"/>
                <a:gd name="T51" fmla="*/ 500 h 1614"/>
                <a:gd name="T52" fmla="*/ 348 w 1270"/>
                <a:gd name="T53" fmla="*/ 44 h 1614"/>
                <a:gd name="T54" fmla="*/ 348 w 1270"/>
                <a:gd name="T55" fmla="*/ 218 h 1614"/>
                <a:gd name="T56" fmla="*/ 438 w 1270"/>
                <a:gd name="T57" fmla="*/ 500 h 1614"/>
                <a:gd name="T58" fmla="*/ 438 w 1270"/>
                <a:gd name="T59" fmla="*/ 335 h 1614"/>
                <a:gd name="T60" fmla="*/ 58 w 1270"/>
                <a:gd name="T61" fmla="*/ 1336 h 1614"/>
                <a:gd name="T62" fmla="*/ 217 w 1270"/>
                <a:gd name="T63" fmla="*/ 125 h 1614"/>
                <a:gd name="T64" fmla="*/ 217 w 1270"/>
                <a:gd name="T65" fmla="*/ 218 h 1614"/>
                <a:gd name="T66" fmla="*/ 324 w 1270"/>
                <a:gd name="T67" fmla="*/ 500 h 1614"/>
                <a:gd name="T68" fmla="*/ 324 w 1270"/>
                <a:gd name="T69" fmla="*/ 335 h 1614"/>
                <a:gd name="T70" fmla="*/ 232 w 1270"/>
                <a:gd name="T71" fmla="*/ 1336 h 1614"/>
                <a:gd name="T72" fmla="*/ 515 w 1270"/>
                <a:gd name="T73" fmla="*/ 1445 h 1614"/>
                <a:gd name="T74" fmla="*/ 515 w 1270"/>
                <a:gd name="T75" fmla="*/ 1336 h 1614"/>
                <a:gd name="T76" fmla="*/ 580 w 1270"/>
                <a:gd name="T77" fmla="*/ 1445 h 1614"/>
                <a:gd name="T78" fmla="*/ 689 w 1270"/>
                <a:gd name="T79" fmla="*/ 1445 h 1614"/>
                <a:gd name="T80" fmla="*/ 755 w 1270"/>
                <a:gd name="T81" fmla="*/ 1336 h 1614"/>
                <a:gd name="T82" fmla="*/ 635 w 1270"/>
                <a:gd name="T83" fmla="*/ 1196 h 1614"/>
                <a:gd name="T84" fmla="*/ 926 w 1270"/>
                <a:gd name="T85" fmla="*/ 905 h 1614"/>
                <a:gd name="T86" fmla="*/ 928 w 1270"/>
                <a:gd name="T87" fmla="*/ 1445 h 1614"/>
                <a:gd name="T88" fmla="*/ 1037 w 1270"/>
                <a:gd name="T89" fmla="*/ 1445 h 1614"/>
                <a:gd name="T90" fmla="*/ 1009 w 1270"/>
                <a:gd name="T91" fmla="*/ 65 h 1614"/>
                <a:gd name="T92" fmla="*/ 1212 w 1270"/>
                <a:gd name="T93" fmla="*/ 1445 h 1614"/>
                <a:gd name="T94" fmla="*/ 1212 w 1270"/>
                <a:gd name="T95" fmla="*/ 1336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0" h="1614">
                  <a:moveTo>
                    <a:pt x="1226" y="1291"/>
                  </a:moveTo>
                  <a:lnTo>
                    <a:pt x="1226" y="517"/>
                  </a:lnTo>
                  <a:lnTo>
                    <a:pt x="1139" y="517"/>
                  </a:lnTo>
                  <a:lnTo>
                    <a:pt x="1139" y="184"/>
                  </a:lnTo>
                  <a:cubicBezTo>
                    <a:pt x="1094" y="123"/>
                    <a:pt x="1050" y="62"/>
                    <a:pt x="1005" y="0"/>
                  </a:cubicBezTo>
                  <a:lnTo>
                    <a:pt x="635" y="0"/>
                  </a:lnTo>
                  <a:lnTo>
                    <a:pt x="265" y="0"/>
                  </a:lnTo>
                  <a:cubicBezTo>
                    <a:pt x="220" y="62"/>
                    <a:pt x="175" y="123"/>
                    <a:pt x="130" y="184"/>
                  </a:cubicBezTo>
                  <a:lnTo>
                    <a:pt x="130" y="517"/>
                  </a:lnTo>
                  <a:lnTo>
                    <a:pt x="43" y="517"/>
                  </a:lnTo>
                  <a:lnTo>
                    <a:pt x="43" y="1291"/>
                  </a:lnTo>
                  <a:lnTo>
                    <a:pt x="0" y="1291"/>
                  </a:lnTo>
                  <a:lnTo>
                    <a:pt x="0" y="1506"/>
                  </a:lnTo>
                  <a:lnTo>
                    <a:pt x="116" y="1506"/>
                  </a:lnTo>
                  <a:lnTo>
                    <a:pt x="116" y="1614"/>
                  </a:lnTo>
                  <a:lnTo>
                    <a:pt x="269" y="1614"/>
                  </a:lnTo>
                  <a:lnTo>
                    <a:pt x="269" y="1506"/>
                  </a:lnTo>
                  <a:lnTo>
                    <a:pt x="356" y="1506"/>
                  </a:lnTo>
                  <a:lnTo>
                    <a:pt x="356" y="1614"/>
                  </a:lnTo>
                  <a:lnTo>
                    <a:pt x="591" y="1614"/>
                  </a:lnTo>
                  <a:lnTo>
                    <a:pt x="591" y="1506"/>
                  </a:lnTo>
                  <a:lnTo>
                    <a:pt x="635" y="1506"/>
                  </a:lnTo>
                  <a:lnTo>
                    <a:pt x="678" y="1506"/>
                  </a:lnTo>
                  <a:lnTo>
                    <a:pt x="678" y="1614"/>
                  </a:lnTo>
                  <a:lnTo>
                    <a:pt x="914" y="1614"/>
                  </a:lnTo>
                  <a:lnTo>
                    <a:pt x="914" y="1506"/>
                  </a:lnTo>
                  <a:lnTo>
                    <a:pt x="1001" y="1506"/>
                  </a:lnTo>
                  <a:lnTo>
                    <a:pt x="1001" y="1614"/>
                  </a:lnTo>
                  <a:lnTo>
                    <a:pt x="1153" y="1614"/>
                  </a:lnTo>
                  <a:lnTo>
                    <a:pt x="1153" y="1506"/>
                  </a:lnTo>
                  <a:lnTo>
                    <a:pt x="1270" y="1506"/>
                  </a:lnTo>
                  <a:lnTo>
                    <a:pt x="1270" y="1291"/>
                  </a:lnTo>
                  <a:lnTo>
                    <a:pt x="1226" y="1291"/>
                  </a:lnTo>
                  <a:close/>
                  <a:moveTo>
                    <a:pt x="946" y="335"/>
                  </a:moveTo>
                  <a:lnTo>
                    <a:pt x="1016" y="335"/>
                  </a:lnTo>
                  <a:lnTo>
                    <a:pt x="1016" y="500"/>
                  </a:lnTo>
                  <a:lnTo>
                    <a:pt x="946" y="500"/>
                  </a:lnTo>
                  <a:lnTo>
                    <a:pt x="946" y="335"/>
                  </a:lnTo>
                  <a:close/>
                  <a:moveTo>
                    <a:pt x="878" y="44"/>
                  </a:moveTo>
                  <a:lnTo>
                    <a:pt x="922" y="44"/>
                  </a:lnTo>
                  <a:lnTo>
                    <a:pt x="922" y="218"/>
                  </a:lnTo>
                  <a:lnTo>
                    <a:pt x="878" y="218"/>
                  </a:lnTo>
                  <a:lnTo>
                    <a:pt x="878" y="44"/>
                  </a:lnTo>
                  <a:close/>
                  <a:moveTo>
                    <a:pt x="832" y="335"/>
                  </a:moveTo>
                  <a:lnTo>
                    <a:pt x="902" y="335"/>
                  </a:lnTo>
                  <a:lnTo>
                    <a:pt x="902" y="500"/>
                  </a:lnTo>
                  <a:lnTo>
                    <a:pt x="832" y="500"/>
                  </a:lnTo>
                  <a:lnTo>
                    <a:pt x="832" y="335"/>
                  </a:lnTo>
                  <a:close/>
                  <a:moveTo>
                    <a:pt x="748" y="44"/>
                  </a:moveTo>
                  <a:lnTo>
                    <a:pt x="791" y="44"/>
                  </a:lnTo>
                  <a:lnTo>
                    <a:pt x="791" y="218"/>
                  </a:lnTo>
                  <a:lnTo>
                    <a:pt x="748" y="218"/>
                  </a:lnTo>
                  <a:lnTo>
                    <a:pt x="748" y="44"/>
                  </a:lnTo>
                  <a:close/>
                  <a:moveTo>
                    <a:pt x="718" y="335"/>
                  </a:moveTo>
                  <a:lnTo>
                    <a:pt x="788" y="335"/>
                  </a:lnTo>
                  <a:lnTo>
                    <a:pt x="788" y="500"/>
                  </a:lnTo>
                  <a:lnTo>
                    <a:pt x="718" y="500"/>
                  </a:lnTo>
                  <a:lnTo>
                    <a:pt x="718" y="335"/>
                  </a:lnTo>
                  <a:close/>
                  <a:moveTo>
                    <a:pt x="613" y="44"/>
                  </a:moveTo>
                  <a:lnTo>
                    <a:pt x="635" y="44"/>
                  </a:lnTo>
                  <a:lnTo>
                    <a:pt x="657" y="44"/>
                  </a:lnTo>
                  <a:lnTo>
                    <a:pt x="657" y="218"/>
                  </a:lnTo>
                  <a:lnTo>
                    <a:pt x="635" y="218"/>
                  </a:lnTo>
                  <a:lnTo>
                    <a:pt x="613" y="218"/>
                  </a:lnTo>
                  <a:lnTo>
                    <a:pt x="613" y="44"/>
                  </a:lnTo>
                  <a:close/>
                  <a:moveTo>
                    <a:pt x="600" y="335"/>
                  </a:moveTo>
                  <a:lnTo>
                    <a:pt x="670" y="335"/>
                  </a:lnTo>
                  <a:lnTo>
                    <a:pt x="670" y="500"/>
                  </a:lnTo>
                  <a:lnTo>
                    <a:pt x="600" y="500"/>
                  </a:lnTo>
                  <a:lnTo>
                    <a:pt x="600" y="335"/>
                  </a:lnTo>
                  <a:close/>
                  <a:moveTo>
                    <a:pt x="479" y="44"/>
                  </a:moveTo>
                  <a:lnTo>
                    <a:pt x="522" y="44"/>
                  </a:lnTo>
                  <a:lnTo>
                    <a:pt x="522" y="218"/>
                  </a:lnTo>
                  <a:lnTo>
                    <a:pt x="479" y="218"/>
                  </a:lnTo>
                  <a:lnTo>
                    <a:pt x="479" y="44"/>
                  </a:lnTo>
                  <a:close/>
                  <a:moveTo>
                    <a:pt x="552" y="335"/>
                  </a:moveTo>
                  <a:lnTo>
                    <a:pt x="552" y="500"/>
                  </a:lnTo>
                  <a:lnTo>
                    <a:pt x="481" y="500"/>
                  </a:lnTo>
                  <a:lnTo>
                    <a:pt x="481" y="335"/>
                  </a:lnTo>
                  <a:lnTo>
                    <a:pt x="552" y="335"/>
                  </a:lnTo>
                  <a:close/>
                  <a:moveTo>
                    <a:pt x="348" y="44"/>
                  </a:moveTo>
                  <a:lnTo>
                    <a:pt x="392" y="44"/>
                  </a:lnTo>
                  <a:lnTo>
                    <a:pt x="392" y="218"/>
                  </a:lnTo>
                  <a:lnTo>
                    <a:pt x="348" y="218"/>
                  </a:lnTo>
                  <a:lnTo>
                    <a:pt x="348" y="44"/>
                  </a:lnTo>
                  <a:close/>
                  <a:moveTo>
                    <a:pt x="438" y="335"/>
                  </a:moveTo>
                  <a:lnTo>
                    <a:pt x="438" y="500"/>
                  </a:lnTo>
                  <a:lnTo>
                    <a:pt x="368" y="500"/>
                  </a:lnTo>
                  <a:lnTo>
                    <a:pt x="368" y="335"/>
                  </a:lnTo>
                  <a:lnTo>
                    <a:pt x="438" y="335"/>
                  </a:lnTo>
                  <a:close/>
                  <a:moveTo>
                    <a:pt x="167" y="1445"/>
                  </a:moveTo>
                  <a:lnTo>
                    <a:pt x="58" y="1445"/>
                  </a:lnTo>
                  <a:lnTo>
                    <a:pt x="58" y="1336"/>
                  </a:lnTo>
                  <a:lnTo>
                    <a:pt x="167" y="1336"/>
                  </a:lnTo>
                  <a:lnTo>
                    <a:pt x="167" y="1445"/>
                  </a:lnTo>
                  <a:close/>
                  <a:moveTo>
                    <a:pt x="217" y="125"/>
                  </a:moveTo>
                  <a:lnTo>
                    <a:pt x="261" y="65"/>
                  </a:lnTo>
                  <a:lnTo>
                    <a:pt x="261" y="218"/>
                  </a:lnTo>
                  <a:lnTo>
                    <a:pt x="217" y="218"/>
                  </a:lnTo>
                  <a:lnTo>
                    <a:pt x="217" y="125"/>
                  </a:lnTo>
                  <a:close/>
                  <a:moveTo>
                    <a:pt x="324" y="335"/>
                  </a:moveTo>
                  <a:lnTo>
                    <a:pt x="324" y="500"/>
                  </a:lnTo>
                  <a:lnTo>
                    <a:pt x="254" y="500"/>
                  </a:lnTo>
                  <a:lnTo>
                    <a:pt x="254" y="335"/>
                  </a:lnTo>
                  <a:lnTo>
                    <a:pt x="324" y="335"/>
                  </a:lnTo>
                  <a:close/>
                  <a:moveTo>
                    <a:pt x="341" y="1445"/>
                  </a:moveTo>
                  <a:lnTo>
                    <a:pt x="232" y="1445"/>
                  </a:lnTo>
                  <a:lnTo>
                    <a:pt x="232" y="1336"/>
                  </a:lnTo>
                  <a:lnTo>
                    <a:pt x="341" y="1336"/>
                  </a:lnTo>
                  <a:lnTo>
                    <a:pt x="341" y="1445"/>
                  </a:lnTo>
                  <a:close/>
                  <a:moveTo>
                    <a:pt x="515" y="1445"/>
                  </a:moveTo>
                  <a:lnTo>
                    <a:pt x="406" y="1445"/>
                  </a:lnTo>
                  <a:lnTo>
                    <a:pt x="406" y="1336"/>
                  </a:lnTo>
                  <a:lnTo>
                    <a:pt x="515" y="1336"/>
                  </a:lnTo>
                  <a:lnTo>
                    <a:pt x="515" y="1445"/>
                  </a:lnTo>
                  <a:close/>
                  <a:moveTo>
                    <a:pt x="689" y="1445"/>
                  </a:moveTo>
                  <a:lnTo>
                    <a:pt x="580" y="1445"/>
                  </a:lnTo>
                  <a:lnTo>
                    <a:pt x="580" y="1336"/>
                  </a:lnTo>
                  <a:lnTo>
                    <a:pt x="689" y="1336"/>
                  </a:lnTo>
                  <a:lnTo>
                    <a:pt x="689" y="1445"/>
                  </a:lnTo>
                  <a:close/>
                  <a:moveTo>
                    <a:pt x="864" y="1445"/>
                  </a:moveTo>
                  <a:lnTo>
                    <a:pt x="755" y="1445"/>
                  </a:lnTo>
                  <a:lnTo>
                    <a:pt x="755" y="1336"/>
                  </a:lnTo>
                  <a:lnTo>
                    <a:pt x="864" y="1336"/>
                  </a:lnTo>
                  <a:lnTo>
                    <a:pt x="864" y="1445"/>
                  </a:lnTo>
                  <a:close/>
                  <a:moveTo>
                    <a:pt x="635" y="1196"/>
                  </a:moveTo>
                  <a:cubicBezTo>
                    <a:pt x="474" y="1196"/>
                    <a:pt x="344" y="1065"/>
                    <a:pt x="344" y="905"/>
                  </a:cubicBezTo>
                  <a:cubicBezTo>
                    <a:pt x="344" y="744"/>
                    <a:pt x="474" y="614"/>
                    <a:pt x="635" y="614"/>
                  </a:cubicBezTo>
                  <a:cubicBezTo>
                    <a:pt x="795" y="614"/>
                    <a:pt x="926" y="744"/>
                    <a:pt x="926" y="905"/>
                  </a:cubicBezTo>
                  <a:cubicBezTo>
                    <a:pt x="926" y="1065"/>
                    <a:pt x="795" y="1196"/>
                    <a:pt x="635" y="1196"/>
                  </a:cubicBezTo>
                  <a:close/>
                  <a:moveTo>
                    <a:pt x="1037" y="1445"/>
                  </a:moveTo>
                  <a:lnTo>
                    <a:pt x="928" y="1445"/>
                  </a:lnTo>
                  <a:lnTo>
                    <a:pt x="928" y="1336"/>
                  </a:lnTo>
                  <a:lnTo>
                    <a:pt x="1037" y="1336"/>
                  </a:lnTo>
                  <a:lnTo>
                    <a:pt x="1037" y="1445"/>
                  </a:lnTo>
                  <a:close/>
                  <a:moveTo>
                    <a:pt x="1052" y="218"/>
                  </a:moveTo>
                  <a:lnTo>
                    <a:pt x="1009" y="218"/>
                  </a:lnTo>
                  <a:lnTo>
                    <a:pt x="1009" y="65"/>
                  </a:lnTo>
                  <a:lnTo>
                    <a:pt x="1052" y="125"/>
                  </a:lnTo>
                  <a:lnTo>
                    <a:pt x="1052" y="218"/>
                  </a:lnTo>
                  <a:close/>
                  <a:moveTo>
                    <a:pt x="1212" y="1445"/>
                  </a:moveTo>
                  <a:lnTo>
                    <a:pt x="1103" y="1445"/>
                  </a:lnTo>
                  <a:lnTo>
                    <a:pt x="1103" y="1336"/>
                  </a:lnTo>
                  <a:lnTo>
                    <a:pt x="1212" y="1336"/>
                  </a:lnTo>
                  <a:lnTo>
                    <a:pt x="1212" y="144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77" name="POWER_USER_ID_ICONS_Car4" descr="{&quot;Key&quot;:&quot;POWER_USER_SHAPE_ICON&quot;,&quot;Value&quot;:&quot;POWER_USER_SHAPE_ICON_STYLE_1&quot;}">
            <a:extLst>
              <a:ext uri="{FF2B5EF4-FFF2-40B4-BE49-F238E27FC236}">
                <a16:creationId xmlns:a16="http://schemas.microsoft.com/office/drawing/2014/main" id="{F51366C9-3ABF-42E6-8CAD-CC7BE72C6D52}"/>
              </a:ext>
            </a:extLst>
          </p:cNvPr>
          <p:cNvGrpSpPr>
            <a:grpSpLocks noChangeAspect="1"/>
          </p:cNvGrpSpPr>
          <p:nvPr>
            <p:custDataLst>
              <p:tags r:id="rId6"/>
            </p:custDataLst>
          </p:nvPr>
        </p:nvGrpSpPr>
        <p:grpSpPr bwMode="auto">
          <a:xfrm>
            <a:off x="6434223" y="4473663"/>
            <a:ext cx="776262" cy="300272"/>
            <a:chOff x="8" y="7"/>
            <a:chExt cx="1153" cy="446"/>
          </a:xfrm>
          <a:solidFill>
            <a:schemeClr val="bg1"/>
          </a:solidFill>
        </p:grpSpPr>
        <p:sp>
          <p:nvSpPr>
            <p:cNvPr id="78" name="POWER_USER_ID_ICONS_Car4">
              <a:extLst>
                <a:ext uri="{FF2B5EF4-FFF2-40B4-BE49-F238E27FC236}">
                  <a16:creationId xmlns:a16="http://schemas.microsoft.com/office/drawing/2014/main" id="{05A51DEB-C1DB-4199-A061-42D76BA22B40}"/>
                </a:ext>
              </a:extLst>
            </p:cNvPr>
            <p:cNvSpPr>
              <a:spLocks noEditPoints="1"/>
            </p:cNvSpPr>
            <p:nvPr>
              <p:custDataLst>
                <p:tags r:id="rId14"/>
              </p:custDataLst>
            </p:nvPr>
          </p:nvSpPr>
          <p:spPr bwMode="auto">
            <a:xfrm>
              <a:off x="8" y="7"/>
              <a:ext cx="1153" cy="355"/>
            </a:xfrm>
            <a:custGeom>
              <a:avLst/>
              <a:gdLst>
                <a:gd name="T0" fmla="*/ 1249 w 1250"/>
                <a:gd name="T1" fmla="*/ 200 h 384"/>
                <a:gd name="T2" fmla="*/ 1245 w 1250"/>
                <a:gd name="T3" fmla="*/ 187 h 384"/>
                <a:gd name="T4" fmla="*/ 1010 w 1250"/>
                <a:gd name="T5" fmla="*/ 1 h 384"/>
                <a:gd name="T6" fmla="*/ 538 w 1250"/>
                <a:gd name="T7" fmla="*/ 1 h 384"/>
                <a:gd name="T8" fmla="*/ 516 w 1250"/>
                <a:gd name="T9" fmla="*/ 12 h 384"/>
                <a:gd name="T10" fmla="*/ 358 w 1250"/>
                <a:gd name="T11" fmla="*/ 170 h 384"/>
                <a:gd name="T12" fmla="*/ 13 w 1250"/>
                <a:gd name="T13" fmla="*/ 227 h 384"/>
                <a:gd name="T14" fmla="*/ 0 w 1250"/>
                <a:gd name="T15" fmla="*/ 246 h 384"/>
                <a:gd name="T16" fmla="*/ 1 w 1250"/>
                <a:gd name="T17" fmla="*/ 365 h 384"/>
                <a:gd name="T18" fmla="*/ 19 w 1250"/>
                <a:gd name="T19" fmla="*/ 384 h 384"/>
                <a:gd name="T20" fmla="*/ 85 w 1250"/>
                <a:gd name="T21" fmla="*/ 384 h 384"/>
                <a:gd name="T22" fmla="*/ 326 w 1250"/>
                <a:gd name="T23" fmla="*/ 384 h 384"/>
                <a:gd name="T24" fmla="*/ 938 w 1250"/>
                <a:gd name="T25" fmla="*/ 384 h 384"/>
                <a:gd name="T26" fmla="*/ 1177 w 1250"/>
                <a:gd name="T27" fmla="*/ 384 h 384"/>
                <a:gd name="T28" fmla="*/ 1231 w 1250"/>
                <a:gd name="T29" fmla="*/ 384 h 384"/>
                <a:gd name="T30" fmla="*/ 1250 w 1250"/>
                <a:gd name="T31" fmla="*/ 365 h 384"/>
                <a:gd name="T32" fmla="*/ 1249 w 1250"/>
                <a:gd name="T33" fmla="*/ 200 h 384"/>
                <a:gd name="T34" fmla="*/ 743 w 1250"/>
                <a:gd name="T35" fmla="*/ 193 h 384"/>
                <a:gd name="T36" fmla="*/ 416 w 1250"/>
                <a:gd name="T37" fmla="*/ 193 h 384"/>
                <a:gd name="T38" fmla="*/ 407 w 1250"/>
                <a:gd name="T39" fmla="*/ 171 h 384"/>
                <a:gd name="T40" fmla="*/ 524 w 1250"/>
                <a:gd name="T41" fmla="*/ 55 h 384"/>
                <a:gd name="T42" fmla="*/ 534 w 1250"/>
                <a:gd name="T43" fmla="*/ 51 h 384"/>
                <a:gd name="T44" fmla="*/ 743 w 1250"/>
                <a:gd name="T45" fmla="*/ 51 h 384"/>
                <a:gd name="T46" fmla="*/ 743 w 1250"/>
                <a:gd name="T47" fmla="*/ 193 h 384"/>
                <a:gd name="T48" fmla="*/ 1081 w 1250"/>
                <a:gd name="T49" fmla="*/ 193 h 384"/>
                <a:gd name="T50" fmla="*/ 781 w 1250"/>
                <a:gd name="T51" fmla="*/ 193 h 384"/>
                <a:gd name="T52" fmla="*/ 781 w 1250"/>
                <a:gd name="T53" fmla="*/ 51 h 384"/>
                <a:gd name="T54" fmla="*/ 957 w 1250"/>
                <a:gd name="T55" fmla="*/ 51 h 384"/>
                <a:gd name="T56" fmla="*/ 967 w 1250"/>
                <a:gd name="T57" fmla="*/ 55 h 384"/>
                <a:gd name="T58" fmla="*/ 1067 w 1250"/>
                <a:gd name="T59" fmla="*/ 157 h 384"/>
                <a:gd name="T60" fmla="*/ 1081 w 1250"/>
                <a:gd name="T61" fmla="*/ 19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0" h="384">
                  <a:moveTo>
                    <a:pt x="1249" y="200"/>
                  </a:moveTo>
                  <a:cubicBezTo>
                    <a:pt x="1248" y="197"/>
                    <a:pt x="1247" y="193"/>
                    <a:pt x="1245" y="187"/>
                  </a:cubicBezTo>
                  <a:lnTo>
                    <a:pt x="1010" y="1"/>
                  </a:lnTo>
                  <a:lnTo>
                    <a:pt x="538" y="1"/>
                  </a:lnTo>
                  <a:cubicBezTo>
                    <a:pt x="527" y="0"/>
                    <a:pt x="521" y="6"/>
                    <a:pt x="516" y="12"/>
                  </a:cubicBezTo>
                  <a:lnTo>
                    <a:pt x="358" y="170"/>
                  </a:lnTo>
                  <a:lnTo>
                    <a:pt x="13" y="227"/>
                  </a:lnTo>
                  <a:cubicBezTo>
                    <a:pt x="9" y="231"/>
                    <a:pt x="4" y="235"/>
                    <a:pt x="0" y="246"/>
                  </a:cubicBezTo>
                  <a:lnTo>
                    <a:pt x="1" y="365"/>
                  </a:lnTo>
                  <a:cubicBezTo>
                    <a:pt x="8" y="384"/>
                    <a:pt x="13" y="381"/>
                    <a:pt x="19" y="384"/>
                  </a:cubicBezTo>
                  <a:lnTo>
                    <a:pt x="85" y="384"/>
                  </a:lnTo>
                  <a:cubicBezTo>
                    <a:pt x="85" y="223"/>
                    <a:pt x="326" y="223"/>
                    <a:pt x="326" y="384"/>
                  </a:cubicBezTo>
                  <a:lnTo>
                    <a:pt x="938" y="384"/>
                  </a:lnTo>
                  <a:cubicBezTo>
                    <a:pt x="938" y="222"/>
                    <a:pt x="1177" y="223"/>
                    <a:pt x="1177" y="384"/>
                  </a:cubicBezTo>
                  <a:lnTo>
                    <a:pt x="1231" y="384"/>
                  </a:lnTo>
                  <a:cubicBezTo>
                    <a:pt x="1241" y="383"/>
                    <a:pt x="1246" y="375"/>
                    <a:pt x="1250" y="365"/>
                  </a:cubicBezTo>
                  <a:lnTo>
                    <a:pt x="1249" y="200"/>
                  </a:lnTo>
                  <a:close/>
                  <a:moveTo>
                    <a:pt x="743" y="193"/>
                  </a:moveTo>
                  <a:lnTo>
                    <a:pt x="416" y="193"/>
                  </a:lnTo>
                  <a:cubicBezTo>
                    <a:pt x="403" y="188"/>
                    <a:pt x="402" y="180"/>
                    <a:pt x="407" y="171"/>
                  </a:cubicBezTo>
                  <a:lnTo>
                    <a:pt x="524" y="55"/>
                  </a:lnTo>
                  <a:cubicBezTo>
                    <a:pt x="527" y="53"/>
                    <a:pt x="529" y="50"/>
                    <a:pt x="534" y="51"/>
                  </a:cubicBezTo>
                  <a:lnTo>
                    <a:pt x="743" y="51"/>
                  </a:lnTo>
                  <a:lnTo>
                    <a:pt x="743" y="193"/>
                  </a:lnTo>
                  <a:close/>
                  <a:moveTo>
                    <a:pt x="1081" y="193"/>
                  </a:moveTo>
                  <a:lnTo>
                    <a:pt x="781" y="193"/>
                  </a:lnTo>
                  <a:lnTo>
                    <a:pt x="781" y="51"/>
                  </a:lnTo>
                  <a:lnTo>
                    <a:pt x="957" y="51"/>
                  </a:lnTo>
                  <a:cubicBezTo>
                    <a:pt x="962" y="50"/>
                    <a:pt x="964" y="53"/>
                    <a:pt x="967" y="55"/>
                  </a:cubicBezTo>
                  <a:lnTo>
                    <a:pt x="1067" y="157"/>
                  </a:lnTo>
                  <a:cubicBezTo>
                    <a:pt x="1077" y="171"/>
                    <a:pt x="1095" y="190"/>
                    <a:pt x="1081" y="1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79" name="POWER_USER_ID_ICONS_Car4">
              <a:extLst>
                <a:ext uri="{FF2B5EF4-FFF2-40B4-BE49-F238E27FC236}">
                  <a16:creationId xmlns:a16="http://schemas.microsoft.com/office/drawing/2014/main" id="{8AC9BFC8-0667-4242-8DFA-D85E04736FCE}"/>
                </a:ext>
              </a:extLst>
            </p:cNvPr>
            <p:cNvSpPr>
              <a:spLocks noEditPoints="1"/>
            </p:cNvSpPr>
            <p:nvPr>
              <p:custDataLst>
                <p:tags r:id="rId15"/>
              </p:custDataLst>
            </p:nvPr>
          </p:nvSpPr>
          <p:spPr bwMode="auto">
            <a:xfrm>
              <a:off x="107" y="272"/>
              <a:ext cx="180" cy="181"/>
            </a:xfrm>
            <a:custGeom>
              <a:avLst/>
              <a:gdLst>
                <a:gd name="T0" fmla="*/ 98 w 196"/>
                <a:gd name="T1" fmla="*/ 0 h 195"/>
                <a:gd name="T2" fmla="*/ 0 w 196"/>
                <a:gd name="T3" fmla="*/ 97 h 195"/>
                <a:gd name="T4" fmla="*/ 98 w 196"/>
                <a:gd name="T5" fmla="*/ 195 h 195"/>
                <a:gd name="T6" fmla="*/ 196 w 196"/>
                <a:gd name="T7" fmla="*/ 97 h 195"/>
                <a:gd name="T8" fmla="*/ 98 w 196"/>
                <a:gd name="T9" fmla="*/ 0 h 195"/>
                <a:gd name="T10" fmla="*/ 98 w 196"/>
                <a:gd name="T11" fmla="*/ 138 h 195"/>
                <a:gd name="T12" fmla="*/ 57 w 196"/>
                <a:gd name="T13" fmla="*/ 97 h 195"/>
                <a:gd name="T14" fmla="*/ 98 w 196"/>
                <a:gd name="T15" fmla="*/ 56 h 195"/>
                <a:gd name="T16" fmla="*/ 139 w 196"/>
                <a:gd name="T17" fmla="*/ 97 h 195"/>
                <a:gd name="T18" fmla="*/ 98 w 196"/>
                <a:gd name="T19" fmla="*/ 13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5">
                  <a:moveTo>
                    <a:pt x="98" y="0"/>
                  </a:moveTo>
                  <a:cubicBezTo>
                    <a:pt x="44" y="0"/>
                    <a:pt x="0" y="43"/>
                    <a:pt x="0" y="97"/>
                  </a:cubicBezTo>
                  <a:cubicBezTo>
                    <a:pt x="0" y="151"/>
                    <a:pt x="44" y="195"/>
                    <a:pt x="98" y="195"/>
                  </a:cubicBezTo>
                  <a:cubicBezTo>
                    <a:pt x="152" y="195"/>
                    <a:pt x="196" y="151"/>
                    <a:pt x="196" y="97"/>
                  </a:cubicBezTo>
                  <a:cubicBezTo>
                    <a:pt x="196" y="43"/>
                    <a:pt x="152" y="0"/>
                    <a:pt x="98" y="0"/>
                  </a:cubicBezTo>
                  <a:close/>
                  <a:moveTo>
                    <a:pt x="98" y="138"/>
                  </a:moveTo>
                  <a:cubicBezTo>
                    <a:pt x="75" y="138"/>
                    <a:pt x="57" y="120"/>
                    <a:pt x="57" y="97"/>
                  </a:cubicBezTo>
                  <a:cubicBezTo>
                    <a:pt x="57" y="74"/>
                    <a:pt x="75" y="56"/>
                    <a:pt x="98" y="56"/>
                  </a:cubicBezTo>
                  <a:cubicBezTo>
                    <a:pt x="121" y="56"/>
                    <a:pt x="139" y="74"/>
                    <a:pt x="139" y="97"/>
                  </a:cubicBezTo>
                  <a:cubicBezTo>
                    <a:pt x="139" y="120"/>
                    <a:pt x="121" y="138"/>
                    <a:pt x="98" y="13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0" name="POWER_USER_ID_ICONS_Car4">
              <a:extLst>
                <a:ext uri="{FF2B5EF4-FFF2-40B4-BE49-F238E27FC236}">
                  <a16:creationId xmlns:a16="http://schemas.microsoft.com/office/drawing/2014/main" id="{CE88A924-DBD9-49A9-AA42-413D150B5709}"/>
                </a:ext>
              </a:extLst>
            </p:cNvPr>
            <p:cNvSpPr>
              <a:spLocks noEditPoints="1"/>
            </p:cNvSpPr>
            <p:nvPr>
              <p:custDataLst>
                <p:tags r:id="rId16"/>
              </p:custDataLst>
            </p:nvPr>
          </p:nvSpPr>
          <p:spPr bwMode="auto">
            <a:xfrm>
              <a:off x="893" y="271"/>
              <a:ext cx="180" cy="182"/>
            </a:xfrm>
            <a:custGeom>
              <a:avLst/>
              <a:gdLst>
                <a:gd name="T0" fmla="*/ 98 w 195"/>
                <a:gd name="T1" fmla="*/ 0 h 196"/>
                <a:gd name="T2" fmla="*/ 0 w 195"/>
                <a:gd name="T3" fmla="*/ 98 h 196"/>
                <a:gd name="T4" fmla="*/ 98 w 195"/>
                <a:gd name="T5" fmla="*/ 196 h 196"/>
                <a:gd name="T6" fmla="*/ 195 w 195"/>
                <a:gd name="T7" fmla="*/ 98 h 196"/>
                <a:gd name="T8" fmla="*/ 98 w 195"/>
                <a:gd name="T9" fmla="*/ 0 h 196"/>
                <a:gd name="T10" fmla="*/ 98 w 195"/>
                <a:gd name="T11" fmla="*/ 139 h 196"/>
                <a:gd name="T12" fmla="*/ 57 w 195"/>
                <a:gd name="T13" fmla="*/ 98 h 196"/>
                <a:gd name="T14" fmla="*/ 98 w 195"/>
                <a:gd name="T15" fmla="*/ 57 h 196"/>
                <a:gd name="T16" fmla="*/ 139 w 195"/>
                <a:gd name="T17" fmla="*/ 98 h 196"/>
                <a:gd name="T18" fmla="*/ 98 w 195"/>
                <a:gd name="T19" fmla="*/ 13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6">
                  <a:moveTo>
                    <a:pt x="98" y="0"/>
                  </a:moveTo>
                  <a:cubicBezTo>
                    <a:pt x="44" y="0"/>
                    <a:pt x="0" y="44"/>
                    <a:pt x="0" y="98"/>
                  </a:cubicBezTo>
                  <a:cubicBezTo>
                    <a:pt x="0" y="152"/>
                    <a:pt x="44" y="196"/>
                    <a:pt x="98" y="196"/>
                  </a:cubicBezTo>
                  <a:cubicBezTo>
                    <a:pt x="152" y="196"/>
                    <a:pt x="195" y="152"/>
                    <a:pt x="195" y="98"/>
                  </a:cubicBezTo>
                  <a:cubicBezTo>
                    <a:pt x="195" y="44"/>
                    <a:pt x="152" y="0"/>
                    <a:pt x="98" y="0"/>
                  </a:cubicBezTo>
                  <a:close/>
                  <a:moveTo>
                    <a:pt x="98" y="139"/>
                  </a:moveTo>
                  <a:cubicBezTo>
                    <a:pt x="75" y="139"/>
                    <a:pt x="57" y="121"/>
                    <a:pt x="57" y="98"/>
                  </a:cubicBezTo>
                  <a:cubicBezTo>
                    <a:pt x="57" y="75"/>
                    <a:pt x="75" y="57"/>
                    <a:pt x="98" y="57"/>
                  </a:cubicBezTo>
                  <a:cubicBezTo>
                    <a:pt x="120" y="57"/>
                    <a:pt x="139" y="75"/>
                    <a:pt x="139" y="98"/>
                  </a:cubicBezTo>
                  <a:cubicBezTo>
                    <a:pt x="139" y="121"/>
                    <a:pt x="120" y="139"/>
                    <a:pt x="98"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grpSp>
        <p:nvGrpSpPr>
          <p:cNvPr id="81" name="POWER_USER_ID_ICONS_Community" descr="{&quot;Key&quot;:&quot;POWER_USER_SHAPE_ICON&quot;,&quot;Value&quot;:&quot;POWER_USER_SHAPE_ICON_STYLE_1&quot;}">
            <a:extLst>
              <a:ext uri="{FF2B5EF4-FFF2-40B4-BE49-F238E27FC236}">
                <a16:creationId xmlns:a16="http://schemas.microsoft.com/office/drawing/2014/main" id="{BC1678C2-8EFF-49AB-87DB-D8A6D2F301DC}"/>
              </a:ext>
            </a:extLst>
          </p:cNvPr>
          <p:cNvGrpSpPr>
            <a:grpSpLocks noChangeAspect="1"/>
          </p:cNvGrpSpPr>
          <p:nvPr>
            <p:custDataLst>
              <p:tags r:id="rId7"/>
            </p:custDataLst>
          </p:nvPr>
        </p:nvGrpSpPr>
        <p:grpSpPr bwMode="auto">
          <a:xfrm>
            <a:off x="6491221" y="5556933"/>
            <a:ext cx="659244" cy="496547"/>
            <a:chOff x="86" y="125"/>
            <a:chExt cx="312" cy="235"/>
          </a:xfrm>
          <a:solidFill>
            <a:schemeClr val="bg1"/>
          </a:solidFill>
        </p:grpSpPr>
        <p:sp>
          <p:nvSpPr>
            <p:cNvPr id="82" name="POWER_USER_ID_ICONS_Community">
              <a:extLst>
                <a:ext uri="{FF2B5EF4-FFF2-40B4-BE49-F238E27FC236}">
                  <a16:creationId xmlns:a16="http://schemas.microsoft.com/office/drawing/2014/main" id="{53117704-4186-4C1B-98A7-CC2B4260787C}"/>
                </a:ext>
              </a:extLst>
            </p:cNvPr>
            <p:cNvSpPr>
              <a:spLocks noChangeArrowheads="1"/>
            </p:cNvSpPr>
            <p:nvPr>
              <p:custDataLst>
                <p:tags r:id="rId9"/>
              </p:custDataLst>
            </p:nvPr>
          </p:nvSpPr>
          <p:spPr bwMode="auto">
            <a:xfrm>
              <a:off x="213" y="12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3" name="POWER_USER_ID_ICONS_Community">
              <a:extLst>
                <a:ext uri="{FF2B5EF4-FFF2-40B4-BE49-F238E27FC236}">
                  <a16:creationId xmlns:a16="http://schemas.microsoft.com/office/drawing/2014/main" id="{C82C9CEA-E32A-4C7A-B223-845A10083ACA}"/>
                </a:ext>
              </a:extLst>
            </p:cNvPr>
            <p:cNvSpPr>
              <a:spLocks noChangeArrowheads="1"/>
            </p:cNvSpPr>
            <p:nvPr>
              <p:custDataLst>
                <p:tags r:id="rId10"/>
              </p:custDataLst>
            </p:nvPr>
          </p:nvSpPr>
          <p:spPr bwMode="auto">
            <a:xfrm>
              <a:off x="106" y="155"/>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4" name="POWER_USER_ID_ICONS_Community">
              <a:extLst>
                <a:ext uri="{FF2B5EF4-FFF2-40B4-BE49-F238E27FC236}">
                  <a16:creationId xmlns:a16="http://schemas.microsoft.com/office/drawing/2014/main" id="{7CA41278-80FF-4FE4-923B-0F8BB48FFDA8}"/>
                </a:ext>
              </a:extLst>
            </p:cNvPr>
            <p:cNvSpPr>
              <a:spLocks noChangeArrowheads="1"/>
            </p:cNvSpPr>
            <p:nvPr>
              <p:custDataLst>
                <p:tags r:id="rId11"/>
              </p:custDataLst>
            </p:nvPr>
          </p:nvSpPr>
          <p:spPr bwMode="auto">
            <a:xfrm>
              <a:off x="320" y="15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5" name="POWER_USER_ID_ICONS_Community">
              <a:extLst>
                <a:ext uri="{FF2B5EF4-FFF2-40B4-BE49-F238E27FC236}">
                  <a16:creationId xmlns:a16="http://schemas.microsoft.com/office/drawing/2014/main" id="{318CDD0B-A983-4856-A03E-FD11984B400D}"/>
                </a:ext>
              </a:extLst>
            </p:cNvPr>
            <p:cNvSpPr>
              <a:spLocks/>
            </p:cNvSpPr>
            <p:nvPr>
              <p:custDataLst>
                <p:tags r:id="rId12"/>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sp>
          <p:nvSpPr>
            <p:cNvPr id="86" name="POWER_USER_ID_ICONS_Community">
              <a:extLst>
                <a:ext uri="{FF2B5EF4-FFF2-40B4-BE49-F238E27FC236}">
                  <a16:creationId xmlns:a16="http://schemas.microsoft.com/office/drawing/2014/main" id="{DF4645C1-D035-420F-8D4B-77207E07BF1C}"/>
                </a:ext>
              </a:extLst>
            </p:cNvPr>
            <p:cNvSpPr>
              <a:spLocks/>
            </p:cNvSpPr>
            <p:nvPr>
              <p:custDataLst>
                <p:tags r:id="rId13"/>
              </p:custDataLst>
            </p:nvPr>
          </p:nvSpPr>
          <p:spPr bwMode="auto">
            <a:xfrm>
              <a:off x="195" y="204"/>
              <a:ext cx="94" cy="62"/>
            </a:xfrm>
            <a:custGeom>
              <a:avLst/>
              <a:gdLst>
                <a:gd name="T0" fmla="*/ 60 w 120"/>
                <a:gd name="T1" fmla="*/ 79 h 79"/>
                <a:gd name="T2" fmla="*/ 120 w 120"/>
                <a:gd name="T3" fmla="*/ 44 h 79"/>
                <a:gd name="T4" fmla="*/ 60 w 120"/>
                <a:gd name="T5" fmla="*/ 0 h 79"/>
                <a:gd name="T6" fmla="*/ 0 w 120"/>
                <a:gd name="T7" fmla="*/ 44 h 79"/>
                <a:gd name="T8" fmla="*/ 60 w 120"/>
                <a:gd name="T9" fmla="*/ 79 h 79"/>
              </a:gdLst>
              <a:ahLst/>
              <a:cxnLst>
                <a:cxn ang="0">
                  <a:pos x="T0" y="T1"/>
                </a:cxn>
                <a:cxn ang="0">
                  <a:pos x="T2" y="T3"/>
                </a:cxn>
                <a:cxn ang="0">
                  <a:pos x="T4" y="T5"/>
                </a:cxn>
                <a:cxn ang="0">
                  <a:pos x="T6" y="T7"/>
                </a:cxn>
                <a:cxn ang="0">
                  <a:pos x="T8" y="T9"/>
                </a:cxn>
              </a:cxnLst>
              <a:rect l="0" t="0" r="r" b="b"/>
              <a:pathLst>
                <a:path w="120" h="79">
                  <a:moveTo>
                    <a:pt x="60" y="79"/>
                  </a:moveTo>
                  <a:lnTo>
                    <a:pt x="120" y="44"/>
                  </a:lnTo>
                  <a:cubicBezTo>
                    <a:pt x="113" y="19"/>
                    <a:pt x="89" y="0"/>
                    <a:pt x="60" y="0"/>
                  </a:cubicBezTo>
                  <a:cubicBezTo>
                    <a:pt x="31" y="0"/>
                    <a:pt x="9" y="19"/>
                    <a:pt x="0" y="44"/>
                  </a:cubicBezTo>
                  <a:lnTo>
                    <a:pt x="60"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sp>
        <p:nvSpPr>
          <p:cNvPr id="87" name="POWER_USER_ID_ICONS_Construction2" descr="{&quot;Key&quot;:&quot;POWER_USER_SHAPE_ICON&quot;,&quot;Value&quot;:&quot;POWER_USER_SHAPE_ICON_STYLE_1&quot;}">
            <a:extLst>
              <a:ext uri="{FF2B5EF4-FFF2-40B4-BE49-F238E27FC236}">
                <a16:creationId xmlns:a16="http://schemas.microsoft.com/office/drawing/2014/main" id="{BB7791FA-7F4A-4DEE-B6E9-F2663AFE97F8}"/>
              </a:ext>
            </a:extLst>
          </p:cNvPr>
          <p:cNvSpPr>
            <a:spLocks noChangeAspect="1" noEditPoints="1"/>
          </p:cNvSpPr>
          <p:nvPr>
            <p:custDataLst>
              <p:tags r:id="rId8"/>
            </p:custDataLst>
          </p:nvPr>
        </p:nvSpPr>
        <p:spPr bwMode="auto">
          <a:xfrm>
            <a:off x="6445258" y="3209957"/>
            <a:ext cx="812530" cy="545529"/>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ysClr val="windowText" lastClr="000000"/>
              </a:solidFill>
              <a:effectLst/>
              <a:uLnTx/>
              <a:uFillTx/>
              <a:latin typeface="Times New Roman" panose="02020603050405020304" pitchFamily="18" charset="0"/>
              <a:cs typeface="Times New Roman" panose="02020603050405020304" pitchFamily="18" charset="0"/>
            </a:endParaRPr>
          </a:p>
        </p:txBody>
      </p:sp>
      <p:grpSp>
        <p:nvGrpSpPr>
          <p:cNvPr id="94" name="Google Shape;761;p31">
            <a:extLst>
              <a:ext uri="{FF2B5EF4-FFF2-40B4-BE49-F238E27FC236}">
                <a16:creationId xmlns:a16="http://schemas.microsoft.com/office/drawing/2014/main" id="{54EC8C53-763F-4D9A-8973-FC14FD50FFF2}"/>
              </a:ext>
            </a:extLst>
          </p:cNvPr>
          <p:cNvGrpSpPr/>
          <p:nvPr/>
        </p:nvGrpSpPr>
        <p:grpSpPr>
          <a:xfrm>
            <a:off x="2441988" y="1317846"/>
            <a:ext cx="3508867" cy="310000"/>
            <a:chOff x="1864150" y="1230050"/>
            <a:chExt cx="2631650" cy="232500"/>
          </a:xfrm>
        </p:grpSpPr>
        <p:sp>
          <p:nvSpPr>
            <p:cNvPr id="95" name="Google Shape;762;p31">
              <a:extLst>
                <a:ext uri="{FF2B5EF4-FFF2-40B4-BE49-F238E27FC236}">
                  <a16:creationId xmlns:a16="http://schemas.microsoft.com/office/drawing/2014/main" id="{6451E0A0-BF7F-4CDE-8151-D57E8E673634}"/>
                </a:ext>
              </a:extLst>
            </p:cNvPr>
            <p:cNvSpPr txBox="1"/>
            <p:nvPr/>
          </p:nvSpPr>
          <p:spPr>
            <a:xfrm>
              <a:off x="3150000" y="1230050"/>
              <a:ext cx="1345800" cy="232500"/>
            </a:xfrm>
            <a:prstGeom prst="rect">
              <a:avLst/>
            </a:prstGeom>
            <a:noFill/>
            <a:ln>
              <a:noFill/>
            </a:ln>
          </p:spPr>
          <p:txBody>
            <a:bodyPr spcFirstLastPara="1" wrap="square" lIns="121900" tIns="121900" rIns="121900" bIns="121900" anchor="ctr" anchorCtr="0">
              <a:noAutofit/>
            </a:bodyPr>
            <a:lstStyle/>
            <a:p>
              <a:pPr marL="0" marR="0" lvl="0" indent="0" algn="r"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rPr>
                <a:t>2016-2020</a:t>
              </a:r>
              <a:endParaRPr kumimoji="0" sz="2500" b="1" i="0" u="none" strike="noStrike" kern="0" cap="none" spc="0" normalizeH="0" baseline="0" noProof="0" dirty="0">
                <a:ln>
                  <a:noFill/>
                </a:ln>
                <a:solidFill>
                  <a:srgbClr val="CE4D78"/>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96" name="Google Shape;763;p31">
              <a:extLst>
                <a:ext uri="{FF2B5EF4-FFF2-40B4-BE49-F238E27FC236}">
                  <a16:creationId xmlns:a16="http://schemas.microsoft.com/office/drawing/2014/main" id="{06435488-A8EE-48D1-8C44-28991A3BCEDC}"/>
                </a:ext>
              </a:extLst>
            </p:cNvPr>
            <p:cNvCxnSpPr/>
            <p:nvPr/>
          </p:nvCxnSpPr>
          <p:spPr>
            <a:xfrm rot="10800000">
              <a:off x="1864150" y="1361725"/>
              <a:ext cx="1484100" cy="0"/>
            </a:xfrm>
            <a:prstGeom prst="straightConnector1">
              <a:avLst/>
            </a:prstGeom>
            <a:noFill/>
            <a:ln w="19050" cap="flat" cmpd="sng">
              <a:solidFill>
                <a:srgbClr val="CE4D78"/>
              </a:solidFill>
              <a:prstDash val="solid"/>
              <a:round/>
              <a:headEnd type="none" w="med" len="med"/>
              <a:tailEnd type="triangle" w="med" len="med"/>
            </a:ln>
          </p:spPr>
        </p:cxnSp>
      </p:grpSp>
      <p:grpSp>
        <p:nvGrpSpPr>
          <p:cNvPr id="97" name="Google Shape;764;p31">
            <a:extLst>
              <a:ext uri="{FF2B5EF4-FFF2-40B4-BE49-F238E27FC236}">
                <a16:creationId xmlns:a16="http://schemas.microsoft.com/office/drawing/2014/main" id="{E61FEC3B-2CCD-4F4A-A71B-9F4D300F3F42}"/>
              </a:ext>
            </a:extLst>
          </p:cNvPr>
          <p:cNvGrpSpPr/>
          <p:nvPr/>
        </p:nvGrpSpPr>
        <p:grpSpPr>
          <a:xfrm>
            <a:off x="6163455" y="1317846"/>
            <a:ext cx="3574438" cy="310000"/>
            <a:chOff x="4655250" y="1230050"/>
            <a:chExt cx="2680829" cy="232500"/>
          </a:xfrm>
        </p:grpSpPr>
        <p:sp>
          <p:nvSpPr>
            <p:cNvPr id="98" name="Google Shape;765;p31">
              <a:extLst>
                <a:ext uri="{FF2B5EF4-FFF2-40B4-BE49-F238E27FC236}">
                  <a16:creationId xmlns:a16="http://schemas.microsoft.com/office/drawing/2014/main" id="{0D413A3B-EA2E-477E-BB92-500D6E7F234B}"/>
                </a:ext>
              </a:extLst>
            </p:cNvPr>
            <p:cNvSpPr txBox="1"/>
            <p:nvPr/>
          </p:nvSpPr>
          <p:spPr>
            <a:xfrm>
              <a:off x="4655250" y="1230050"/>
              <a:ext cx="1345800" cy="232500"/>
            </a:xfrm>
            <a:prstGeom prst="rect">
              <a:avLst/>
            </a:prstGeom>
            <a:noFill/>
            <a:ln>
              <a:noFill/>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r>
                <a:rPr kumimoji="0" lang="en"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rPr>
                <a:t>2021-2025</a:t>
              </a:r>
              <a:endParaRPr kumimoji="0" sz="2500" b="1" i="0" u="none" strike="noStrike" kern="0" cap="none" spc="0" normalizeH="0" baseline="0" noProof="0" dirty="0">
                <a:ln>
                  <a:noFill/>
                </a:ln>
                <a:solidFill>
                  <a:srgbClr val="324275"/>
                </a:solidFill>
                <a:effectLst/>
                <a:uLnTx/>
                <a:uFillTx/>
                <a:latin typeface="Times New Roman" panose="02020603050405020304" pitchFamily="18" charset="0"/>
                <a:ea typeface="Roboto"/>
                <a:cs typeface="Times New Roman" panose="02020603050405020304" pitchFamily="18" charset="0"/>
                <a:sym typeface="Roboto"/>
              </a:endParaRPr>
            </a:p>
          </p:txBody>
        </p:sp>
        <p:cxnSp>
          <p:nvCxnSpPr>
            <p:cNvPr id="99" name="Google Shape;766;p31">
              <a:extLst>
                <a:ext uri="{FF2B5EF4-FFF2-40B4-BE49-F238E27FC236}">
                  <a16:creationId xmlns:a16="http://schemas.microsoft.com/office/drawing/2014/main" id="{E0475202-C2FF-4B55-B8E9-8973E54794EB}"/>
                </a:ext>
              </a:extLst>
            </p:cNvPr>
            <p:cNvCxnSpPr/>
            <p:nvPr/>
          </p:nvCxnSpPr>
          <p:spPr>
            <a:xfrm>
              <a:off x="5821079" y="1361725"/>
              <a:ext cx="1515000" cy="0"/>
            </a:xfrm>
            <a:prstGeom prst="straightConnector1">
              <a:avLst/>
            </a:prstGeom>
            <a:noFill/>
            <a:ln w="19050" cap="flat" cmpd="sng">
              <a:solidFill>
                <a:srgbClr val="324275"/>
              </a:solidFill>
              <a:prstDash val="solid"/>
              <a:round/>
              <a:headEnd type="none" w="med" len="med"/>
              <a:tailEnd type="triangle" w="med" len="med"/>
            </a:ln>
          </p:spPr>
        </p:cxnSp>
      </p:grpSp>
    </p:spTree>
    <p:extLst>
      <p:ext uri="{BB962C8B-B14F-4D97-AF65-F5344CB8AC3E}">
        <p14:creationId xmlns:p14="http://schemas.microsoft.com/office/powerpoint/2010/main" val="99787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748;gca86f3d6ea_0_0">
            <a:extLst>
              <a:ext uri="{FF2B5EF4-FFF2-40B4-BE49-F238E27FC236}">
                <a16:creationId xmlns:a16="http://schemas.microsoft.com/office/drawing/2014/main" id="{B50248BB-35CA-D573-55B7-E4EF68D98125}"/>
              </a:ext>
            </a:extLst>
          </p:cNvPr>
          <p:cNvSpPr txBox="1">
            <a:spLocks/>
          </p:cNvSpPr>
          <p:nvPr/>
        </p:nvSpPr>
        <p:spPr>
          <a:xfrm>
            <a:off x="197994" y="448152"/>
            <a:ext cx="11357100" cy="5625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914377">
              <a:lnSpc>
                <a:spcPct val="100000"/>
              </a:lnSpc>
              <a:spcBef>
                <a:spcPts val="0"/>
              </a:spcBef>
              <a:defRPr>
                <a:uFillTx/>
              </a:defRPr>
            </a:pPr>
            <a:r>
              <a:rPr lang="en-US" sz="3000" b="1" dirty="0">
                <a:solidFill>
                  <a:srgbClr val="164397"/>
                </a:solidFill>
                <a:latin typeface="HelveticaBlackVU" panose="00000900000000000000" pitchFamily="2" charset="0"/>
                <a:ea typeface="+mn-ea"/>
                <a:cs typeface="+mn-cs"/>
                <a:sym typeface="Arial"/>
              </a:rPr>
              <a:t>BÌNH ĐẲNG GIỚI TẠI NƠI LÀM VIỆC</a:t>
            </a:r>
          </a:p>
        </p:txBody>
      </p:sp>
      <p:pic>
        <p:nvPicPr>
          <p:cNvPr id="3" name="Google Shape;749;gca86f3d6ea_0_0">
            <a:extLst>
              <a:ext uri="{FF2B5EF4-FFF2-40B4-BE49-F238E27FC236}">
                <a16:creationId xmlns:a16="http://schemas.microsoft.com/office/drawing/2014/main" id="{EE1C5FCC-5E9E-4C6A-B721-C859DD1A4691}"/>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55606" y="1167062"/>
            <a:ext cx="5008848" cy="5008848"/>
          </a:xfrm>
          <a:prstGeom prst="rect">
            <a:avLst/>
          </a:prstGeom>
          <a:noFill/>
          <a:ln>
            <a:noFill/>
          </a:ln>
        </p:spPr>
      </p:pic>
      <p:sp>
        <p:nvSpPr>
          <p:cNvPr id="4" name="Google Shape;589;p40">
            <a:extLst>
              <a:ext uri="{FF2B5EF4-FFF2-40B4-BE49-F238E27FC236}">
                <a16:creationId xmlns:a16="http://schemas.microsoft.com/office/drawing/2014/main" id="{D41ADE9C-A00F-4E67-9C4B-61BCFB3E08FA}"/>
              </a:ext>
            </a:extLst>
          </p:cNvPr>
          <p:cNvSpPr txBox="1"/>
          <p:nvPr/>
        </p:nvSpPr>
        <p:spPr>
          <a:xfrm>
            <a:off x="5876544" y="1167061"/>
            <a:ext cx="5678550" cy="3830451"/>
          </a:xfrm>
          <a:prstGeom prst="rect">
            <a:avLst/>
          </a:prstGeom>
          <a:noFill/>
          <a:ln>
            <a:noFill/>
          </a:ln>
        </p:spPr>
        <p:txBody>
          <a:bodyPr spcFirstLastPara="1" wrap="square" lIns="121900" tIns="60933" rIns="121900" bIns="60933" anchor="t" anchorCtr="0">
            <a:noAutofit/>
          </a:bodyPr>
          <a:lstStyle/>
          <a:p>
            <a:pPr marL="342900" indent="-342900" algn="just">
              <a:spcBef>
                <a:spcPts val="600"/>
              </a:spcBef>
              <a:spcAft>
                <a:spcPts val="600"/>
              </a:spcAft>
              <a:buFont typeface="Wingdings" panose="05000000000000000000" pitchFamily="2" charset="2"/>
              <a:buChar char="Ø"/>
            </a:pPr>
            <a:r>
              <a:rPr lang="en-US" sz="2000" dirty="0">
                <a:solidFill>
                  <a:schemeClr val="accent1"/>
                </a:solidFill>
                <a:latin typeface="Times New Roman" panose="02020603050405020304" pitchFamily="18" charset="0"/>
                <a:cs typeface="Times New Roman" panose="02020603050405020304" pitchFamily="18" charset="0"/>
                <a:sym typeface="Arial"/>
              </a:rPr>
              <a:t>Bình </a:t>
            </a:r>
            <a:r>
              <a:rPr lang="en-US" sz="2000" dirty="0" err="1">
                <a:solidFill>
                  <a:schemeClr val="accent1"/>
                </a:solidFill>
                <a:latin typeface="Times New Roman" panose="02020603050405020304" pitchFamily="18" charset="0"/>
                <a:cs typeface="Times New Roman" panose="02020603050405020304" pitchFamily="18" charset="0"/>
                <a:sym typeface="Arial"/>
              </a:rPr>
              <a:t>đẳ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o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ô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iệ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ao</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độ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iệ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àm</a:t>
            </a:r>
            <a:r>
              <a:rPr lang="en-US" sz="2000" dirty="0">
                <a:solidFill>
                  <a:schemeClr val="accent1"/>
                </a:solidFill>
                <a:latin typeface="Times New Roman" panose="02020603050405020304" pitchFamily="18" charset="0"/>
                <a:cs typeface="Times New Roman" panose="02020603050405020304" pitchFamily="18" charset="0"/>
                <a:sym typeface="Arial"/>
              </a:rPr>
              <a:t>)</a:t>
            </a:r>
          </a:p>
          <a:p>
            <a:pPr marL="342900" indent="-342900" algn="just">
              <a:spcBef>
                <a:spcPts val="600"/>
              </a:spcBef>
              <a:spcAft>
                <a:spcPts val="600"/>
              </a:spcAft>
              <a:buFont typeface="Wingdings" panose="05000000000000000000" pitchFamily="2" charset="2"/>
              <a:buChar char="Ø"/>
            </a:pPr>
            <a:r>
              <a:rPr lang="en-US" sz="2000" dirty="0">
                <a:solidFill>
                  <a:schemeClr val="accent1"/>
                </a:solidFill>
                <a:latin typeface="Times New Roman" panose="02020603050405020304" pitchFamily="18" charset="0"/>
                <a:cs typeface="Times New Roman" panose="02020603050405020304" pitchFamily="18" charset="0"/>
                <a:sym typeface="Arial"/>
              </a:rPr>
              <a:t>Bình </a:t>
            </a:r>
            <a:r>
              <a:rPr lang="en-US" sz="2000" dirty="0" err="1">
                <a:solidFill>
                  <a:schemeClr val="accent1"/>
                </a:solidFill>
                <a:latin typeface="Times New Roman" panose="02020603050405020304" pitchFamily="18" charset="0"/>
                <a:cs typeface="Times New Roman" panose="02020603050405020304" pitchFamily="18" charset="0"/>
                <a:sym typeface="Arial"/>
              </a:rPr>
              <a:t>đẳ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o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cô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á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quả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ý</a:t>
            </a:r>
            <a:endParaRPr lang="en-US" sz="2000" dirty="0">
              <a:solidFill>
                <a:schemeClr val="accent1"/>
              </a:solidFill>
              <a:latin typeface="Times New Roman" panose="02020603050405020304" pitchFamily="18" charset="0"/>
              <a:cs typeface="Times New Roman" panose="02020603050405020304" pitchFamily="18" charset="0"/>
              <a:sym typeface="Arial"/>
            </a:endParaRPr>
          </a:p>
          <a:p>
            <a:pPr marL="342900" indent="-342900" algn="just">
              <a:spcBef>
                <a:spcPts val="600"/>
              </a:spcBef>
              <a:spcAft>
                <a:spcPts val="600"/>
              </a:spcAft>
              <a:buFont typeface="Wingdings" panose="05000000000000000000" pitchFamily="2" charset="2"/>
              <a:buChar char="Ø"/>
            </a:pPr>
            <a:r>
              <a:rPr lang="en-US" sz="2000" dirty="0">
                <a:solidFill>
                  <a:schemeClr val="accent1"/>
                </a:solidFill>
                <a:latin typeface="Times New Roman" panose="02020603050405020304" pitchFamily="18" charset="0"/>
                <a:cs typeface="Times New Roman" panose="02020603050405020304" pitchFamily="18" charset="0"/>
                <a:sym typeface="Arial"/>
              </a:rPr>
              <a:t>Bình </a:t>
            </a:r>
            <a:r>
              <a:rPr lang="en-US" sz="2000" dirty="0" err="1">
                <a:solidFill>
                  <a:schemeClr val="accent1"/>
                </a:solidFill>
                <a:latin typeface="Times New Roman" panose="02020603050405020304" pitchFamily="18" charset="0"/>
                <a:cs typeface="Times New Roman" panose="02020603050405020304" pitchFamily="18" charset="0"/>
                <a:sym typeface="Arial"/>
              </a:rPr>
              <a:t>đẳ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giớ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o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ả</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ương</a:t>
            </a:r>
            <a:endParaRPr lang="en-US" sz="2000" dirty="0">
              <a:solidFill>
                <a:schemeClr val="accent1"/>
              </a:solidFill>
              <a:latin typeface="Times New Roman" panose="02020603050405020304" pitchFamily="18" charset="0"/>
              <a:cs typeface="Times New Roman" panose="02020603050405020304" pitchFamily="18" charset="0"/>
              <a:sym typeface="Arial"/>
            </a:endParaRPr>
          </a:p>
          <a:p>
            <a:pPr marL="342900" indent="-342900" algn="just">
              <a:spcBef>
                <a:spcPts val="600"/>
              </a:spcBef>
              <a:spcAft>
                <a:spcPts val="600"/>
              </a:spcAft>
              <a:buFont typeface="Wingdings" panose="05000000000000000000" pitchFamily="2" charset="2"/>
              <a:buChar char="Ø"/>
            </a:pPr>
            <a:r>
              <a:rPr lang="en-US" sz="2000" dirty="0" err="1">
                <a:solidFill>
                  <a:schemeClr val="accent1"/>
                </a:solidFill>
                <a:latin typeface="Times New Roman" panose="02020603050405020304" pitchFamily="18" charset="0"/>
                <a:cs typeface="Times New Roman" panose="02020603050405020304" pitchFamily="18" charset="0"/>
                <a:sym typeface="Arial"/>
              </a:rPr>
              <a:t>Mội</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trường</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làm</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iệc</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văn</a:t>
            </a:r>
            <a:r>
              <a:rPr lang="en-US" sz="2000" dirty="0">
                <a:solidFill>
                  <a:schemeClr val="accent1"/>
                </a:solidFill>
                <a:latin typeface="Times New Roman" panose="02020603050405020304" pitchFamily="18" charset="0"/>
                <a:cs typeface="Times New Roman" panose="02020603050405020304" pitchFamily="18" charset="0"/>
                <a:sym typeface="Arial"/>
              </a:rPr>
              <a:t> </a:t>
            </a:r>
            <a:r>
              <a:rPr lang="en-US" sz="2000" dirty="0" err="1">
                <a:solidFill>
                  <a:schemeClr val="accent1"/>
                </a:solidFill>
                <a:latin typeface="Times New Roman" panose="02020603050405020304" pitchFamily="18" charset="0"/>
                <a:cs typeface="Times New Roman" panose="02020603050405020304" pitchFamily="18" charset="0"/>
                <a:sym typeface="Arial"/>
              </a:rPr>
              <a:t>hóa</a:t>
            </a:r>
            <a:r>
              <a:rPr lang="en-US" sz="2000" dirty="0">
                <a:solidFill>
                  <a:schemeClr val="accent1"/>
                </a:solidFill>
                <a:latin typeface="Times New Roman" panose="02020603050405020304" pitchFamily="18" charset="0"/>
                <a:cs typeface="Times New Roman" panose="02020603050405020304" pitchFamily="18" charset="0"/>
                <a:sym typeface="Arial"/>
              </a:rPr>
              <a:t>  </a:t>
            </a:r>
          </a:p>
          <a:p>
            <a:pPr marL="342900" indent="-342900" algn="just">
              <a:spcBef>
                <a:spcPts val="600"/>
              </a:spcBef>
              <a:spcAft>
                <a:spcPts val="600"/>
              </a:spcAft>
              <a:buFont typeface="Wingdings" panose="05000000000000000000" pitchFamily="2" charset="2"/>
              <a:buChar char="Ø"/>
            </a:pPr>
            <a:r>
              <a:rPr lang="vi-VN" sz="2000" dirty="0">
                <a:solidFill>
                  <a:schemeClr val="accent1"/>
                </a:solidFill>
                <a:latin typeface="Times New Roman" panose="02020603050405020304" pitchFamily="18" charset="0"/>
                <a:cs typeface="Times New Roman" panose="02020603050405020304" pitchFamily="18" charset="0"/>
                <a:sym typeface="Arial"/>
              </a:rPr>
              <a:t>Thích ứng cải tiến tạo nên bình đẳng giới tại nơi làm việc</a:t>
            </a:r>
            <a:endParaRPr lang="en-US" sz="2000" dirty="0">
              <a:solidFill>
                <a:schemeClr val="accent1"/>
              </a:solidFill>
              <a:latin typeface="Times New Roman" panose="02020603050405020304" pitchFamily="18" charset="0"/>
              <a:ea typeface="Arial"/>
              <a:cs typeface="Times New Roman" panose="02020603050405020304" pitchFamily="18" charset="0"/>
              <a:sym typeface="Arial"/>
            </a:endParaRPr>
          </a:p>
        </p:txBody>
      </p:sp>
    </p:spTree>
    <p:extLst>
      <p:ext uri="{BB962C8B-B14F-4D97-AF65-F5344CB8AC3E}">
        <p14:creationId xmlns:p14="http://schemas.microsoft.com/office/powerpoint/2010/main" val="19658542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192CEEF7-28CF-4D44-A916-C456691C3C00}"/>
              </a:ext>
            </a:extLst>
          </p:cNvPr>
          <p:cNvGrpSpPr/>
          <p:nvPr/>
        </p:nvGrpSpPr>
        <p:grpSpPr>
          <a:xfrm>
            <a:off x="5439390" y="1013548"/>
            <a:ext cx="1369407" cy="36576"/>
            <a:chOff x="1775295" y="2020905"/>
            <a:chExt cx="3631535" cy="45719"/>
          </a:xfrm>
        </p:grpSpPr>
        <p:sp>
          <p:nvSpPr>
            <p:cNvPr id="62" name="Rectangle 61">
              <a:extLst>
                <a:ext uri="{FF2B5EF4-FFF2-40B4-BE49-F238E27FC236}">
                  <a16:creationId xmlns:a16="http://schemas.microsoft.com/office/drawing/2014/main" id="{5CD9F519-8E14-4238-AFB2-4DF2FF2C1D67}"/>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63" name="Rectangle 62">
              <a:extLst>
                <a:ext uri="{FF2B5EF4-FFF2-40B4-BE49-F238E27FC236}">
                  <a16:creationId xmlns:a16="http://schemas.microsoft.com/office/drawing/2014/main" id="{4DE09F9F-4662-48D4-921D-CFBB72F9CFB5}"/>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64" name="Rectangle 63">
              <a:extLst>
                <a:ext uri="{FF2B5EF4-FFF2-40B4-BE49-F238E27FC236}">
                  <a16:creationId xmlns:a16="http://schemas.microsoft.com/office/drawing/2014/main" id="{5A2C8CFC-77D5-4605-AFBE-AF017BC71074}"/>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65" name="Rectangle 64">
              <a:extLst>
                <a:ext uri="{FF2B5EF4-FFF2-40B4-BE49-F238E27FC236}">
                  <a16:creationId xmlns:a16="http://schemas.microsoft.com/office/drawing/2014/main" id="{435F4AC0-ADB0-4739-A14F-5A6A40A5116C}"/>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66" name="Rectangle 65">
              <a:extLst>
                <a:ext uri="{FF2B5EF4-FFF2-40B4-BE49-F238E27FC236}">
                  <a16:creationId xmlns:a16="http://schemas.microsoft.com/office/drawing/2014/main" id="{C52640EC-1668-41EE-B721-169B827B389D}"/>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67" name="Rectangle 66">
              <a:extLst>
                <a:ext uri="{FF2B5EF4-FFF2-40B4-BE49-F238E27FC236}">
                  <a16:creationId xmlns:a16="http://schemas.microsoft.com/office/drawing/2014/main" id="{F58C86DE-C08E-427F-82AB-4EE10B958C12}"/>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grpSp>
      <p:sp>
        <p:nvSpPr>
          <p:cNvPr id="68" name="Rectangle 67">
            <a:extLst>
              <a:ext uri="{FF2B5EF4-FFF2-40B4-BE49-F238E27FC236}">
                <a16:creationId xmlns:a16="http://schemas.microsoft.com/office/drawing/2014/main" id="{E5E86319-6445-4E8C-84D1-BE5CCCF96D2D}"/>
              </a:ext>
            </a:extLst>
          </p:cNvPr>
          <p:cNvSpPr/>
          <p:nvPr/>
        </p:nvSpPr>
        <p:spPr>
          <a:xfrm>
            <a:off x="30277" y="182551"/>
            <a:ext cx="12161721" cy="769441"/>
          </a:xfrm>
          <a:prstGeom prst="rect">
            <a:avLst/>
          </a:prstGeom>
        </p:spPr>
        <p:txBody>
          <a:bodyPr wrap="square">
            <a:spAutoFit/>
          </a:bodyPr>
          <a:lstStyle/>
          <a:p>
            <a:pPr algn="ctr" defTabSz="914377">
              <a:defRPr>
                <a:uFillTx/>
              </a:defRPr>
            </a:pPr>
            <a:r>
              <a:rPr lang="en-US" sz="2200" b="1" dirty="0">
                <a:solidFill>
                  <a:srgbClr val="164397"/>
                </a:solidFill>
                <a:latin typeface="HelveticaBlackVU" panose="00000900000000000000" pitchFamily="2" charset="0"/>
              </a:rPr>
              <a:t>TỔNG QUAN</a:t>
            </a:r>
          </a:p>
          <a:p>
            <a:pPr algn="ctr" defTabSz="914377">
              <a:defRPr>
                <a:uFillTx/>
              </a:defRPr>
            </a:pPr>
            <a:r>
              <a:rPr lang="en-US" sz="2200" b="1" dirty="0">
                <a:solidFill>
                  <a:srgbClr val="164397"/>
                </a:solidFill>
                <a:latin typeface="HelveticaBlackVU" panose="00000900000000000000" pitchFamily="2" charset="0"/>
              </a:rPr>
              <a:t>ĐIỆN LỰC VIỆT NAM</a:t>
            </a:r>
          </a:p>
        </p:txBody>
      </p:sp>
      <p:pic>
        <p:nvPicPr>
          <p:cNvPr id="169" name="Picture 2" descr="D:\backup07102013\o dia D\O D xin\logo EVN.jpg">
            <a:extLst>
              <a:ext uri="{FF2B5EF4-FFF2-40B4-BE49-F238E27FC236}">
                <a16:creationId xmlns:a16="http://schemas.microsoft.com/office/drawing/2014/main" id="{1199CC91-9822-4CC3-91D4-757DEDFD6F5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3">
            <a:extLst>
              <a:ext uri="{FF2B5EF4-FFF2-40B4-BE49-F238E27FC236}">
                <a16:creationId xmlns:a16="http://schemas.microsoft.com/office/drawing/2014/main" id="{E74C2B0E-0CD9-4680-87A9-546B0EFCF44B}"/>
              </a:ext>
            </a:extLst>
          </p:cNvPr>
          <p:cNvSpPr/>
          <p:nvPr/>
        </p:nvSpPr>
        <p:spPr>
          <a:xfrm rot="18900000">
            <a:off x="1125841" y="5175565"/>
            <a:ext cx="364559" cy="292846"/>
          </a:xfrm>
          <a:custGeom>
            <a:avLst/>
            <a:gdLst/>
            <a:ahLst/>
            <a:cxnLst/>
            <a:rect l="l" t="t" r="r" b="b"/>
            <a:pathLst>
              <a:path w="5420988" h="4354613">
                <a:moveTo>
                  <a:pt x="1348767" y="746532"/>
                </a:moveTo>
                <a:lnTo>
                  <a:pt x="557008" y="1538292"/>
                </a:lnTo>
                <a:lnTo>
                  <a:pt x="242696" y="1223981"/>
                </a:lnTo>
                <a:lnTo>
                  <a:pt x="720144" y="746532"/>
                </a:lnTo>
                <a:close/>
                <a:moveTo>
                  <a:pt x="2953020" y="1710427"/>
                </a:moveTo>
                <a:lnTo>
                  <a:pt x="1841912" y="2821534"/>
                </a:lnTo>
                <a:lnTo>
                  <a:pt x="1527601" y="2507223"/>
                </a:lnTo>
                <a:lnTo>
                  <a:pt x="2507669" y="1527155"/>
                </a:lnTo>
                <a:lnTo>
                  <a:pt x="2507669" y="1710427"/>
                </a:lnTo>
                <a:close/>
                <a:moveTo>
                  <a:pt x="2204816" y="746532"/>
                </a:moveTo>
                <a:lnTo>
                  <a:pt x="984202" y="1967146"/>
                </a:lnTo>
                <a:lnTo>
                  <a:pt x="669891" y="1652835"/>
                </a:lnTo>
                <a:lnTo>
                  <a:pt x="1576193" y="746532"/>
                </a:lnTo>
                <a:close/>
                <a:moveTo>
                  <a:pt x="2507669" y="704276"/>
                </a:moveTo>
                <a:lnTo>
                  <a:pt x="2507669" y="1299728"/>
                </a:lnTo>
                <a:lnTo>
                  <a:pt x="1413057" y="2394340"/>
                </a:lnTo>
                <a:lnTo>
                  <a:pt x="1098746" y="2080028"/>
                </a:lnTo>
                <a:lnTo>
                  <a:pt x="2474499" y="704276"/>
                </a:lnTo>
                <a:close/>
                <a:moveTo>
                  <a:pt x="3783840" y="1735655"/>
                </a:moveTo>
                <a:lnTo>
                  <a:pt x="2270767" y="3248728"/>
                </a:lnTo>
                <a:lnTo>
                  <a:pt x="1956456" y="2934416"/>
                </a:lnTo>
                <a:lnTo>
                  <a:pt x="3136451" y="1754421"/>
                </a:lnTo>
                <a:close/>
                <a:moveTo>
                  <a:pt x="4496799" y="1714987"/>
                </a:moveTo>
                <a:lnTo>
                  <a:pt x="4496799" y="1878748"/>
                </a:lnTo>
                <a:lnTo>
                  <a:pt x="2696301" y="3679245"/>
                </a:lnTo>
                <a:lnTo>
                  <a:pt x="2381990" y="3364934"/>
                </a:lnTo>
                <a:lnTo>
                  <a:pt x="4018059" y="1728865"/>
                </a:lnTo>
                <a:close/>
                <a:moveTo>
                  <a:pt x="5188803" y="1234621"/>
                </a:moveTo>
                <a:lnTo>
                  <a:pt x="4712161" y="1707180"/>
                </a:lnTo>
                <a:lnTo>
                  <a:pt x="4712161" y="1499750"/>
                </a:lnTo>
                <a:lnTo>
                  <a:pt x="3254907" y="1499750"/>
                </a:lnTo>
                <a:lnTo>
                  <a:pt x="3254907" y="1501015"/>
                </a:lnTo>
                <a:lnTo>
                  <a:pt x="2718814" y="1501014"/>
                </a:lnTo>
                <a:lnTo>
                  <a:pt x="2718814" y="536093"/>
                </a:lnTo>
                <a:lnTo>
                  <a:pt x="931605" y="536093"/>
                </a:lnTo>
                <a:lnTo>
                  <a:pt x="931605" y="535070"/>
                </a:lnTo>
                <a:lnTo>
                  <a:pt x="1489071" y="0"/>
                </a:lnTo>
                <a:lnTo>
                  <a:pt x="3243560" y="0"/>
                </a:lnTo>
                <a:lnTo>
                  <a:pt x="3243560" y="11638"/>
                </a:lnTo>
                <a:lnTo>
                  <a:pt x="3254907" y="11638"/>
                </a:lnTo>
                <a:lnTo>
                  <a:pt x="3254907" y="969491"/>
                </a:lnTo>
                <a:lnTo>
                  <a:pt x="4712161" y="969491"/>
                </a:lnTo>
                <a:lnTo>
                  <a:pt x="4712161" y="762061"/>
                </a:lnTo>
                <a:close/>
                <a:moveTo>
                  <a:pt x="5420988" y="1433714"/>
                </a:moveTo>
                <a:cubicBezTo>
                  <a:pt x="5477229" y="1489956"/>
                  <a:pt x="5477229" y="1581142"/>
                  <a:pt x="5420988" y="1637384"/>
                </a:cubicBezTo>
                <a:lnTo>
                  <a:pt x="2907428" y="4150943"/>
                </a:lnTo>
                <a:lnTo>
                  <a:pt x="2703759" y="4354613"/>
                </a:lnTo>
                <a:lnTo>
                  <a:pt x="2500089" y="4150943"/>
                </a:lnTo>
                <a:lnTo>
                  <a:pt x="0" y="1650854"/>
                </a:lnTo>
                <a:cubicBezTo>
                  <a:pt x="-56242" y="1594612"/>
                  <a:pt x="-56242" y="1503426"/>
                  <a:pt x="0" y="1447185"/>
                </a:cubicBezTo>
                <a:cubicBezTo>
                  <a:pt x="56242" y="1390943"/>
                  <a:pt x="147427" y="1390943"/>
                  <a:pt x="203669" y="1447185"/>
                </a:cubicBezTo>
                <a:lnTo>
                  <a:pt x="2703759" y="3947274"/>
                </a:lnTo>
                <a:lnTo>
                  <a:pt x="5217318" y="1433714"/>
                </a:lnTo>
                <a:cubicBezTo>
                  <a:pt x="5273560" y="1377472"/>
                  <a:pt x="5364746" y="1377472"/>
                  <a:pt x="5420988" y="143371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mn-ea"/>
              <a:cs typeface="+mn-cs"/>
            </a:endParaRPr>
          </a:p>
        </p:txBody>
      </p:sp>
      <p:sp>
        <p:nvSpPr>
          <p:cNvPr id="75" name="Freeform 53">
            <a:extLst>
              <a:ext uri="{FF2B5EF4-FFF2-40B4-BE49-F238E27FC236}">
                <a16:creationId xmlns:a16="http://schemas.microsoft.com/office/drawing/2014/main" id="{421A4288-2924-4000-9DF5-69D9790E6ADC}"/>
              </a:ext>
            </a:extLst>
          </p:cNvPr>
          <p:cNvSpPr/>
          <p:nvPr/>
        </p:nvSpPr>
        <p:spPr>
          <a:xfrm flipH="1">
            <a:off x="1152478" y="6151175"/>
            <a:ext cx="293173" cy="251966"/>
          </a:xfrm>
          <a:custGeom>
            <a:avLst/>
            <a:gdLst/>
            <a:ahLst/>
            <a:cxnLst/>
            <a:rect l="l" t="t" r="r" b="b"/>
            <a:pathLst>
              <a:path w="3747318" h="3220630">
                <a:moveTo>
                  <a:pt x="1455638" y="819213"/>
                </a:moveTo>
                <a:cubicBezTo>
                  <a:pt x="1581890" y="819213"/>
                  <a:pt x="1684238" y="921561"/>
                  <a:pt x="1684238" y="1047813"/>
                </a:cubicBezTo>
                <a:cubicBezTo>
                  <a:pt x="1684238" y="1174065"/>
                  <a:pt x="1581890" y="1276413"/>
                  <a:pt x="1455638" y="1276413"/>
                </a:cubicBezTo>
                <a:cubicBezTo>
                  <a:pt x="1329386" y="1276413"/>
                  <a:pt x="1227038" y="1174065"/>
                  <a:pt x="1227038" y="1047813"/>
                </a:cubicBezTo>
                <a:cubicBezTo>
                  <a:pt x="1227038" y="921561"/>
                  <a:pt x="1329386" y="819213"/>
                  <a:pt x="1455638" y="819213"/>
                </a:cubicBezTo>
                <a:close/>
                <a:moveTo>
                  <a:pt x="2235150" y="819213"/>
                </a:moveTo>
                <a:cubicBezTo>
                  <a:pt x="2361402" y="819213"/>
                  <a:pt x="2463750" y="921561"/>
                  <a:pt x="2463750" y="1047813"/>
                </a:cubicBezTo>
                <a:cubicBezTo>
                  <a:pt x="2463750" y="1174065"/>
                  <a:pt x="2361402" y="1276413"/>
                  <a:pt x="2235150" y="1276413"/>
                </a:cubicBezTo>
                <a:cubicBezTo>
                  <a:pt x="2108898" y="1276413"/>
                  <a:pt x="2006550" y="1174065"/>
                  <a:pt x="2006550" y="1047813"/>
                </a:cubicBezTo>
                <a:cubicBezTo>
                  <a:pt x="2006550" y="921561"/>
                  <a:pt x="2108898" y="819213"/>
                  <a:pt x="2235150" y="819213"/>
                </a:cubicBezTo>
                <a:close/>
                <a:moveTo>
                  <a:pt x="3014662" y="819213"/>
                </a:moveTo>
                <a:cubicBezTo>
                  <a:pt x="3140914" y="819213"/>
                  <a:pt x="3243262" y="921561"/>
                  <a:pt x="3243262" y="1047813"/>
                </a:cubicBezTo>
                <a:cubicBezTo>
                  <a:pt x="3243262" y="1174065"/>
                  <a:pt x="3140914" y="1276413"/>
                  <a:pt x="3014662" y="1276413"/>
                </a:cubicBezTo>
                <a:cubicBezTo>
                  <a:pt x="2888410" y="1276413"/>
                  <a:pt x="2786062" y="1174065"/>
                  <a:pt x="2786062" y="1047813"/>
                </a:cubicBezTo>
                <a:cubicBezTo>
                  <a:pt x="2786062" y="921561"/>
                  <a:pt x="2888410" y="819213"/>
                  <a:pt x="3014662" y="819213"/>
                </a:cubicBezTo>
                <a:close/>
                <a:moveTo>
                  <a:pt x="553290" y="667803"/>
                </a:moveTo>
                <a:lnTo>
                  <a:pt x="552034" y="667803"/>
                </a:lnTo>
                <a:lnTo>
                  <a:pt x="454090" y="667803"/>
                </a:lnTo>
                <a:lnTo>
                  <a:pt x="383671" y="667803"/>
                </a:lnTo>
                <a:cubicBezTo>
                  <a:pt x="171775" y="667803"/>
                  <a:pt x="0" y="839578"/>
                  <a:pt x="0" y="1051474"/>
                </a:cubicBezTo>
                <a:lnTo>
                  <a:pt x="0" y="2372364"/>
                </a:lnTo>
                <a:cubicBezTo>
                  <a:pt x="0" y="2584260"/>
                  <a:pt x="171775" y="2756035"/>
                  <a:pt x="383671" y="2756035"/>
                </a:cubicBezTo>
                <a:lnTo>
                  <a:pt x="649047" y="2756035"/>
                </a:lnTo>
                <a:cubicBezTo>
                  <a:pt x="546380" y="2958845"/>
                  <a:pt x="474406" y="3028353"/>
                  <a:pt x="174793" y="3220630"/>
                </a:cubicBezTo>
                <a:cubicBezTo>
                  <a:pt x="650199" y="3174991"/>
                  <a:pt x="1051667" y="3043772"/>
                  <a:pt x="1403830" y="2756035"/>
                </a:cubicBezTo>
                <a:lnTo>
                  <a:pt x="2640665" y="2756035"/>
                </a:lnTo>
                <a:cubicBezTo>
                  <a:pt x="2782226" y="2756035"/>
                  <a:pt x="2905880" y="2679370"/>
                  <a:pt x="2970971" y="2564477"/>
                </a:cubicBezTo>
                <a:cubicBezTo>
                  <a:pt x="2742421" y="2482699"/>
                  <a:pt x="2531569" y="2366318"/>
                  <a:pt x="2334721" y="2205482"/>
                </a:cubicBezTo>
                <a:lnTo>
                  <a:pt x="974103" y="2205482"/>
                </a:lnTo>
                <a:cubicBezTo>
                  <a:pt x="768630" y="2205482"/>
                  <a:pt x="597451" y="2058657"/>
                  <a:pt x="560170" y="1864121"/>
                </a:cubicBezTo>
                <a:lnTo>
                  <a:pt x="553290" y="1852846"/>
                </a:lnTo>
                <a:close/>
                <a:moveTo>
                  <a:pt x="3363647" y="0"/>
                </a:moveTo>
                <a:lnTo>
                  <a:pt x="1106653" y="0"/>
                </a:lnTo>
                <a:cubicBezTo>
                  <a:pt x="894757" y="0"/>
                  <a:pt x="722982" y="171775"/>
                  <a:pt x="722982" y="383671"/>
                </a:cubicBezTo>
                <a:lnTo>
                  <a:pt x="722982" y="1704561"/>
                </a:lnTo>
                <a:cubicBezTo>
                  <a:pt x="722982" y="1916457"/>
                  <a:pt x="894757" y="2088232"/>
                  <a:pt x="1106653" y="2088232"/>
                </a:cubicBezTo>
                <a:lnTo>
                  <a:pt x="2343488" y="2088232"/>
                </a:lnTo>
                <a:cubicBezTo>
                  <a:pt x="2695651" y="2375969"/>
                  <a:pt x="3097119" y="2507188"/>
                  <a:pt x="3572525" y="2552827"/>
                </a:cubicBezTo>
                <a:cubicBezTo>
                  <a:pt x="3272912" y="2360550"/>
                  <a:pt x="3200938" y="2291042"/>
                  <a:pt x="3098271" y="2088232"/>
                </a:cubicBezTo>
                <a:lnTo>
                  <a:pt x="3363647" y="2088232"/>
                </a:lnTo>
                <a:cubicBezTo>
                  <a:pt x="3575543" y="2088232"/>
                  <a:pt x="3747318" y="1916457"/>
                  <a:pt x="3747318" y="1704561"/>
                </a:cubicBezTo>
                <a:lnTo>
                  <a:pt x="3747318" y="383671"/>
                </a:lnTo>
                <a:cubicBezTo>
                  <a:pt x="3747318" y="171775"/>
                  <a:pt x="3575543" y="0"/>
                  <a:pt x="336364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mn-ea"/>
              <a:cs typeface="+mn-cs"/>
            </a:endParaRPr>
          </a:p>
        </p:txBody>
      </p:sp>
      <p:sp>
        <p:nvSpPr>
          <p:cNvPr id="78" name="Round Same Side Corner Rectangle 7">
            <a:extLst>
              <a:ext uri="{FF2B5EF4-FFF2-40B4-BE49-F238E27FC236}">
                <a16:creationId xmlns:a16="http://schemas.microsoft.com/office/drawing/2014/main" id="{76E8F5C3-1A5A-415F-885A-29724D977362}"/>
              </a:ext>
            </a:extLst>
          </p:cNvPr>
          <p:cNvSpPr>
            <a:spLocks noChangeAspect="1"/>
          </p:cNvSpPr>
          <p:nvPr/>
        </p:nvSpPr>
        <p:spPr>
          <a:xfrm rot="10800000">
            <a:off x="1127492" y="3192150"/>
            <a:ext cx="318159" cy="334483"/>
          </a:xfrm>
          <a:custGeom>
            <a:avLst/>
            <a:gdLst/>
            <a:ahLst/>
            <a:cxnLst/>
            <a:rect l="l" t="t" r="r" b="b"/>
            <a:pathLst>
              <a:path w="3749229" h="3941586">
                <a:moveTo>
                  <a:pt x="1841173" y="2251014"/>
                </a:moveTo>
                <a:cubicBezTo>
                  <a:pt x="1901032" y="2251014"/>
                  <a:pt x="1949557" y="2202489"/>
                  <a:pt x="1949557" y="2142630"/>
                </a:cubicBezTo>
                <a:cubicBezTo>
                  <a:pt x="1949557" y="2082771"/>
                  <a:pt x="1901032" y="2034246"/>
                  <a:pt x="1841173" y="2034246"/>
                </a:cubicBezTo>
                <a:cubicBezTo>
                  <a:pt x="1781314" y="2034246"/>
                  <a:pt x="1732789" y="2082771"/>
                  <a:pt x="1732789" y="2142630"/>
                </a:cubicBezTo>
                <a:cubicBezTo>
                  <a:pt x="1732789" y="2202489"/>
                  <a:pt x="1781314" y="2251014"/>
                  <a:pt x="1841173" y="2251014"/>
                </a:cubicBezTo>
                <a:close/>
                <a:moveTo>
                  <a:pt x="2197713" y="2395667"/>
                </a:moveTo>
                <a:lnTo>
                  <a:pt x="1492210" y="2296503"/>
                </a:lnTo>
                <a:lnTo>
                  <a:pt x="1492210" y="2109382"/>
                </a:lnTo>
                <a:cubicBezTo>
                  <a:pt x="1492210" y="2024878"/>
                  <a:pt x="1583949" y="1956178"/>
                  <a:pt x="1697980" y="1955114"/>
                </a:cubicBezTo>
                <a:lnTo>
                  <a:pt x="1697980" y="1800200"/>
                </a:lnTo>
                <a:lnTo>
                  <a:pt x="1431133" y="1800200"/>
                </a:lnTo>
                <a:lnTo>
                  <a:pt x="1431133" y="1461593"/>
                </a:lnTo>
                <a:lnTo>
                  <a:pt x="643489" y="471679"/>
                </a:lnTo>
                <a:lnTo>
                  <a:pt x="785968" y="352125"/>
                </a:lnTo>
                <a:lnTo>
                  <a:pt x="1699128" y="1384562"/>
                </a:lnTo>
                <a:lnTo>
                  <a:pt x="1735187" y="0"/>
                </a:lnTo>
                <a:lnTo>
                  <a:pt x="1921179" y="0"/>
                </a:lnTo>
                <a:lnTo>
                  <a:pt x="1958328" y="1426402"/>
                </a:lnTo>
                <a:lnTo>
                  <a:pt x="1976872" y="1426402"/>
                </a:lnTo>
                <a:lnTo>
                  <a:pt x="1972364" y="1422619"/>
                </a:lnTo>
                <a:lnTo>
                  <a:pt x="2919184" y="352125"/>
                </a:lnTo>
                <a:lnTo>
                  <a:pt x="3061662" y="471679"/>
                </a:lnTo>
                <a:lnTo>
                  <a:pt x="2239212" y="1505339"/>
                </a:lnTo>
                <a:lnTo>
                  <a:pt x="2239212" y="1800200"/>
                </a:lnTo>
                <a:lnTo>
                  <a:pt x="1972364" y="1800200"/>
                </a:lnTo>
                <a:lnTo>
                  <a:pt x="1972364" y="1954485"/>
                </a:lnTo>
                <a:lnTo>
                  <a:pt x="1987720" y="1954485"/>
                </a:lnTo>
                <a:cubicBezTo>
                  <a:pt x="2103696" y="1954485"/>
                  <a:pt x="2197713" y="2023835"/>
                  <a:pt x="2197713" y="2109382"/>
                </a:cubicBezTo>
                <a:close/>
                <a:moveTo>
                  <a:pt x="112363" y="2735659"/>
                </a:moveTo>
                <a:cubicBezTo>
                  <a:pt x="100580" y="2737300"/>
                  <a:pt x="88281" y="2736658"/>
                  <a:pt x="76067" y="2733385"/>
                </a:cubicBezTo>
                <a:lnTo>
                  <a:pt x="67901" y="2731197"/>
                </a:lnTo>
                <a:cubicBezTo>
                  <a:pt x="19046" y="2718106"/>
                  <a:pt x="-9948" y="2667888"/>
                  <a:pt x="3143" y="2619032"/>
                </a:cubicBezTo>
                <a:lnTo>
                  <a:pt x="136132" y="2122709"/>
                </a:lnTo>
                <a:cubicBezTo>
                  <a:pt x="149223" y="2073853"/>
                  <a:pt x="199442" y="2044859"/>
                  <a:pt x="248297" y="2057950"/>
                </a:cubicBezTo>
                <a:lnTo>
                  <a:pt x="256463" y="2060138"/>
                </a:lnTo>
                <a:cubicBezTo>
                  <a:pt x="305319" y="2073229"/>
                  <a:pt x="334312" y="2123447"/>
                  <a:pt x="321221" y="2172303"/>
                </a:cubicBezTo>
                <a:lnTo>
                  <a:pt x="188232" y="2668627"/>
                </a:lnTo>
                <a:cubicBezTo>
                  <a:pt x="178414" y="2705268"/>
                  <a:pt x="147712" y="2730738"/>
                  <a:pt x="112363" y="2735659"/>
                </a:cubicBezTo>
                <a:close/>
                <a:moveTo>
                  <a:pt x="816379" y="2803284"/>
                </a:moveTo>
                <a:lnTo>
                  <a:pt x="296148" y="2663889"/>
                </a:lnTo>
                <a:lnTo>
                  <a:pt x="412311" y="2230363"/>
                </a:lnTo>
                <a:lnTo>
                  <a:pt x="932542" y="2369758"/>
                </a:lnTo>
                <a:close/>
                <a:moveTo>
                  <a:pt x="2025342" y="3266622"/>
                </a:moveTo>
                <a:lnTo>
                  <a:pt x="881030" y="2960004"/>
                </a:lnTo>
                <a:lnTo>
                  <a:pt x="1066890" y="2266362"/>
                </a:lnTo>
                <a:lnTo>
                  <a:pt x="2211202" y="2572980"/>
                </a:lnTo>
                <a:close/>
                <a:moveTo>
                  <a:pt x="2928285" y="3694425"/>
                </a:moveTo>
                <a:lnTo>
                  <a:pt x="2109557" y="3475047"/>
                </a:lnTo>
                <a:lnTo>
                  <a:pt x="2388347" y="2434586"/>
                </a:lnTo>
                <a:lnTo>
                  <a:pt x="3207076" y="2653963"/>
                </a:lnTo>
                <a:close/>
                <a:moveTo>
                  <a:pt x="3361202" y="3940500"/>
                </a:moveTo>
                <a:cubicBezTo>
                  <a:pt x="3346463" y="3942552"/>
                  <a:pt x="3331077" y="3941748"/>
                  <a:pt x="3315798" y="3937654"/>
                </a:cubicBezTo>
                <a:lnTo>
                  <a:pt x="3103596" y="3880795"/>
                </a:lnTo>
                <a:cubicBezTo>
                  <a:pt x="3042479" y="3864419"/>
                  <a:pt x="3006210" y="3801598"/>
                  <a:pt x="3022586" y="3740481"/>
                </a:cubicBezTo>
                <a:lnTo>
                  <a:pt x="3311771" y="2661227"/>
                </a:lnTo>
                <a:cubicBezTo>
                  <a:pt x="3328148" y="2600110"/>
                  <a:pt x="3390968" y="2563840"/>
                  <a:pt x="3452085" y="2580216"/>
                </a:cubicBezTo>
                <a:lnTo>
                  <a:pt x="3664287" y="2637076"/>
                </a:lnTo>
                <a:cubicBezTo>
                  <a:pt x="3725404" y="2653452"/>
                  <a:pt x="3761673" y="2716273"/>
                  <a:pt x="3745297" y="2777390"/>
                </a:cubicBezTo>
                <a:lnTo>
                  <a:pt x="3456112" y="3856644"/>
                </a:lnTo>
                <a:cubicBezTo>
                  <a:pt x="3443830" y="3902482"/>
                  <a:pt x="3405423" y="3934343"/>
                  <a:pt x="3361202" y="39405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mn-ea"/>
              <a:cs typeface="+mn-cs"/>
            </a:endParaRPr>
          </a:p>
        </p:txBody>
      </p:sp>
      <p:pic>
        <p:nvPicPr>
          <p:cNvPr id="31" name="Picture 2">
            <a:extLst>
              <a:ext uri="{FF2B5EF4-FFF2-40B4-BE49-F238E27FC236}">
                <a16:creationId xmlns:a16="http://schemas.microsoft.com/office/drawing/2014/main" id="{DA47142A-9B58-4738-9E44-E415F5893D4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844736" y="6836"/>
            <a:ext cx="2347262" cy="674927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BAB7C39E-00A5-464C-852D-C75EAF717E1F}"/>
              </a:ext>
            </a:extLst>
          </p:cNvPr>
          <p:cNvSpPr txBox="1"/>
          <p:nvPr/>
        </p:nvSpPr>
        <p:spPr>
          <a:xfrm>
            <a:off x="1157050" y="1233124"/>
            <a:ext cx="8564680" cy="1661993"/>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700" b="1" dirty="0" err="1">
                <a:solidFill>
                  <a:srgbClr val="0070C0"/>
                </a:solidFill>
                <a:effectLst/>
                <a:latin typeface="Times New Roman" panose="02020603050405020304" pitchFamily="18" charset="0"/>
                <a:ea typeface="Times New Roman" panose="02020603050405020304" pitchFamily="18" charset="0"/>
              </a:rPr>
              <a:t>Năm</a:t>
            </a:r>
            <a:r>
              <a:rPr lang="en-US" sz="1700" b="1" dirty="0">
                <a:solidFill>
                  <a:srgbClr val="0070C0"/>
                </a:solidFill>
                <a:effectLst/>
                <a:latin typeface="Times New Roman" panose="02020603050405020304" pitchFamily="18" charset="0"/>
                <a:ea typeface="Times New Roman" panose="02020603050405020304" pitchFamily="18" charset="0"/>
              </a:rPr>
              <a:t> 1892: </a:t>
            </a:r>
            <a:r>
              <a:rPr lang="en-US" sz="1700" b="1" dirty="0" err="1">
                <a:solidFill>
                  <a:srgbClr val="0070C0"/>
                </a:solidFill>
                <a:effectLst/>
                <a:latin typeface="Times New Roman" panose="02020603050405020304" pitchFamily="18" charset="0"/>
                <a:ea typeface="Times New Roman" panose="02020603050405020304" pitchFamily="18" charset="0"/>
              </a:rPr>
              <a:t>Hoạt</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động</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kinh</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doanh</a:t>
            </a:r>
            <a:r>
              <a:rPr lang="en-US" sz="1700" b="1" dirty="0">
                <a:solidFill>
                  <a:srgbClr val="0070C0"/>
                </a:solidFill>
                <a:effectLst/>
                <a:latin typeface="Times New Roman" panose="02020603050405020304" pitchFamily="18" charset="0"/>
                <a:ea typeface="Times New Roman" panose="02020603050405020304" pitchFamily="18" charset="0"/>
              </a:rPr>
              <a:t> Điện lực </a:t>
            </a:r>
            <a:r>
              <a:rPr lang="en-US" sz="1700" b="1" dirty="0" err="1">
                <a:solidFill>
                  <a:srgbClr val="0070C0"/>
                </a:solidFill>
                <a:effectLst/>
                <a:latin typeface="Times New Roman" panose="02020603050405020304" pitchFamily="18" charset="0"/>
                <a:ea typeface="Times New Roman" panose="02020603050405020304" pitchFamily="18" charset="0"/>
              </a:rPr>
              <a:t>lần</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đầu</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tiên</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được</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khai</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thác</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thương</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mại</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tại</a:t>
            </a:r>
            <a:r>
              <a:rPr lang="en-US" sz="1700" b="1" dirty="0">
                <a:solidFill>
                  <a:srgbClr val="0070C0"/>
                </a:solidFill>
                <a:effectLst/>
                <a:latin typeface="Times New Roman" panose="02020603050405020304" pitchFamily="18" charset="0"/>
                <a:ea typeface="Times New Roman" panose="02020603050405020304" pitchFamily="18" charset="0"/>
              </a:rPr>
              <a:t> TP. </a:t>
            </a:r>
            <a:r>
              <a:rPr lang="en-US" sz="1700" b="1" dirty="0" err="1">
                <a:solidFill>
                  <a:srgbClr val="0070C0"/>
                </a:solidFill>
                <a:effectLst/>
                <a:latin typeface="Times New Roman" panose="02020603050405020304" pitchFamily="18" charset="0"/>
                <a:ea typeface="Times New Roman" panose="02020603050405020304" pitchFamily="18" charset="0"/>
              </a:rPr>
              <a:t>Hải</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Phòng</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Gần</a:t>
            </a:r>
            <a:r>
              <a:rPr lang="en-US" sz="1700" b="1" dirty="0">
                <a:solidFill>
                  <a:srgbClr val="0070C0"/>
                </a:solidFill>
                <a:effectLst/>
                <a:latin typeface="Times New Roman" panose="02020603050405020304" pitchFamily="18" charset="0"/>
                <a:ea typeface="Times New Roman" panose="02020603050405020304" pitchFamily="18" charset="0"/>
              </a:rPr>
              <a:t> 131 </a:t>
            </a:r>
            <a:r>
              <a:rPr lang="en-US" sz="1700" b="1" dirty="0" err="1">
                <a:solidFill>
                  <a:srgbClr val="0070C0"/>
                </a:solidFill>
                <a:effectLst/>
                <a:latin typeface="Times New Roman" panose="02020603050405020304" pitchFamily="18" charset="0"/>
                <a:ea typeface="Times New Roman" panose="02020603050405020304" pitchFamily="18" charset="0"/>
              </a:rPr>
              <a:t>năm</a:t>
            </a:r>
            <a:r>
              <a:rPr lang="en-US" sz="1700" b="1" dirty="0">
                <a:solidFill>
                  <a:srgbClr val="0070C0"/>
                </a:solidFill>
                <a:effectLst/>
                <a:latin typeface="Times New Roman" panose="02020603050405020304" pitchFamily="18" charset="0"/>
                <a:ea typeface="Times New Roman" panose="02020603050405020304" pitchFamily="18" charset="0"/>
              </a:rPr>
              <a:t>)</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700" b="1" dirty="0">
                <a:solidFill>
                  <a:srgbClr val="0070C0"/>
                </a:solidFill>
                <a:latin typeface="Times New Roman" panose="02020603050405020304" pitchFamily="18" charset="0"/>
                <a:ea typeface="Calibri" panose="020F0502020204030204" pitchFamily="34" charset="0"/>
              </a:rPr>
              <a:t>21/12/1954: </a:t>
            </a:r>
            <a:r>
              <a:rPr lang="en-US" sz="1700" b="1" dirty="0" err="1">
                <a:solidFill>
                  <a:srgbClr val="0070C0"/>
                </a:solidFill>
                <a:latin typeface="Times New Roman" panose="02020603050405020304" pitchFamily="18" charset="0"/>
                <a:ea typeface="Calibri" panose="020F0502020204030204" pitchFamily="34" charset="0"/>
              </a:rPr>
              <a:t>Bác</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Hồ</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về</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thăm</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và</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nói</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chuyện</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với</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Công</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nhân</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Nhà</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máy</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Điện</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Bờ</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Hồ</a:t>
            </a:r>
            <a:r>
              <a:rPr lang="en-US" sz="1700" b="1" dirty="0">
                <a:solidFill>
                  <a:srgbClr val="0070C0"/>
                </a:solidFill>
                <a:latin typeface="Times New Roman" panose="02020603050405020304" pitchFamily="18" charset="0"/>
                <a:ea typeface="Calibri" panose="020F0502020204030204" pitchFamily="34" charset="0"/>
              </a:rPr>
              <a:t> - </a:t>
            </a:r>
            <a:r>
              <a:rPr lang="en-US" sz="1700" b="1" dirty="0" err="1">
                <a:solidFill>
                  <a:srgbClr val="0070C0"/>
                </a:solidFill>
                <a:latin typeface="Times New Roman" panose="02020603050405020304" pitchFamily="18" charset="0"/>
                <a:ea typeface="Calibri" panose="020F0502020204030204" pitchFamily="34" charset="0"/>
              </a:rPr>
              <a:t>Hà</a:t>
            </a:r>
            <a:r>
              <a:rPr lang="en-US" sz="1700" b="1" dirty="0">
                <a:solidFill>
                  <a:srgbClr val="0070C0"/>
                </a:solidFill>
                <a:latin typeface="Times New Roman" panose="02020603050405020304" pitchFamily="18" charset="0"/>
                <a:ea typeface="Calibri" panose="020F0502020204030204" pitchFamily="34" charset="0"/>
              </a:rPr>
              <a:t> </a:t>
            </a:r>
            <a:r>
              <a:rPr lang="en-US" sz="1700" b="1" dirty="0" err="1">
                <a:solidFill>
                  <a:srgbClr val="0070C0"/>
                </a:solidFill>
                <a:latin typeface="Times New Roman" panose="02020603050405020304" pitchFamily="18" charset="0"/>
                <a:ea typeface="Calibri" panose="020F0502020204030204" pitchFamily="34" charset="0"/>
              </a:rPr>
              <a:t>Nội</a:t>
            </a:r>
            <a:r>
              <a:rPr lang="en-US" sz="1700" b="1" dirty="0">
                <a:solidFill>
                  <a:srgbClr val="0070C0"/>
                </a:solidFill>
                <a:latin typeface="Times New Roman" panose="02020603050405020304" pitchFamily="18" charset="0"/>
                <a:ea typeface="Calibri" panose="020F0502020204030204" pitchFamily="34" charset="0"/>
              </a:rPr>
              <a:t> </a:t>
            </a:r>
          </a:p>
          <a:p>
            <a:pPr marR="0" lvl="0" algn="just" defTabSz="914400" rtl="0" eaLnBrk="1" fontAlgn="auto" latinLnBrk="0" hangingPunct="1">
              <a:lnSpc>
                <a:spcPct val="100000"/>
              </a:lnSpc>
              <a:spcBef>
                <a:spcPts val="0"/>
              </a:spcBef>
              <a:spcAft>
                <a:spcPts val="0"/>
              </a:spcAft>
              <a:buClrTx/>
              <a:buSzTx/>
              <a:tabLst/>
              <a:defRPr/>
            </a:pP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gày</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ày</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ược</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ấy</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àm</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gày</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ruyề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ống</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của</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gành</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iệ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Gầ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70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ăm</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10/10/1994: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ành</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ập</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TCT ĐLVN nay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à</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ập</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oà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iệ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ực</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Việt</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Nam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gần</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30 </a:t>
            </a:r>
            <a:r>
              <a:rPr lang="en-US" sz="17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ăm</a:t>
            </a:r>
            <a:r>
              <a:rPr lang="en-US" sz="17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a:t>
            </a:r>
            <a:endParaRPr lang="en-US" sz="1700" b="1" dirty="0">
              <a:solidFill>
                <a:srgbClr val="0070C0"/>
              </a:solidFill>
              <a:latin typeface="Times New Roman" panose="02020603050405020304" pitchFamily="18" charset="0"/>
              <a:ea typeface="Calibri" panose="020F0502020204030204" pitchFamily="34" charset="0"/>
            </a:endParaRPr>
          </a:p>
        </p:txBody>
      </p:sp>
      <p:sp>
        <p:nvSpPr>
          <p:cNvPr id="16" name="Rectangle 15">
            <a:extLst>
              <a:ext uri="{FF2B5EF4-FFF2-40B4-BE49-F238E27FC236}">
                <a16:creationId xmlns:a16="http://schemas.microsoft.com/office/drawing/2014/main" id="{E5E86319-6445-4E8C-84D1-BE5CCCF96D2D}"/>
              </a:ext>
            </a:extLst>
          </p:cNvPr>
          <p:cNvSpPr/>
          <p:nvPr/>
        </p:nvSpPr>
        <p:spPr>
          <a:xfrm>
            <a:off x="0" y="3016233"/>
            <a:ext cx="12191999" cy="379378"/>
          </a:xfrm>
          <a:prstGeom prst="rect">
            <a:avLst/>
          </a:prstGeom>
        </p:spPr>
        <p:txBody>
          <a:bodyPr wrap="square">
            <a:spAutoFit/>
          </a:bodyPr>
          <a:lstStyle/>
          <a:p>
            <a:pPr algn="ctr" defTabSz="914377">
              <a:defRPr>
                <a:uFillTx/>
              </a:defRPr>
            </a:pPr>
            <a:r>
              <a:rPr lang="en-US" b="1" dirty="0">
                <a:solidFill>
                  <a:srgbClr val="164397"/>
                </a:solidFill>
                <a:latin typeface="HelveticaBlackVU" panose="00000900000000000000" pitchFamily="2" charset="0"/>
              </a:rPr>
              <a:t>HỆ THỐNG ĐIỆN VIỆT NAM</a:t>
            </a:r>
          </a:p>
        </p:txBody>
      </p:sp>
      <p:grpSp>
        <p:nvGrpSpPr>
          <p:cNvPr id="17" name="Group 16">
            <a:extLst>
              <a:ext uri="{FF2B5EF4-FFF2-40B4-BE49-F238E27FC236}">
                <a16:creationId xmlns:a16="http://schemas.microsoft.com/office/drawing/2014/main" id="{192CEEF7-28CF-4D44-A916-C456691C3C00}"/>
              </a:ext>
            </a:extLst>
          </p:cNvPr>
          <p:cNvGrpSpPr/>
          <p:nvPr/>
        </p:nvGrpSpPr>
        <p:grpSpPr>
          <a:xfrm>
            <a:off x="5328039" y="3419194"/>
            <a:ext cx="1369407" cy="36576"/>
            <a:chOff x="1775295" y="2020905"/>
            <a:chExt cx="3631535" cy="45719"/>
          </a:xfrm>
        </p:grpSpPr>
        <p:sp>
          <p:nvSpPr>
            <p:cNvPr id="18" name="Rectangle 17">
              <a:extLst>
                <a:ext uri="{FF2B5EF4-FFF2-40B4-BE49-F238E27FC236}">
                  <a16:creationId xmlns:a16="http://schemas.microsoft.com/office/drawing/2014/main" id="{5CD9F519-8E14-4238-AFB2-4DF2FF2C1D67}"/>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19" name="Rectangle 18">
              <a:extLst>
                <a:ext uri="{FF2B5EF4-FFF2-40B4-BE49-F238E27FC236}">
                  <a16:creationId xmlns:a16="http://schemas.microsoft.com/office/drawing/2014/main" id="{4DE09F9F-4662-48D4-921D-CFBB72F9CFB5}"/>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20" name="Rectangle 19">
              <a:extLst>
                <a:ext uri="{FF2B5EF4-FFF2-40B4-BE49-F238E27FC236}">
                  <a16:creationId xmlns:a16="http://schemas.microsoft.com/office/drawing/2014/main" id="{5A2C8CFC-77D5-4605-AFBE-AF017BC71074}"/>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21" name="Rectangle 20">
              <a:extLst>
                <a:ext uri="{FF2B5EF4-FFF2-40B4-BE49-F238E27FC236}">
                  <a16:creationId xmlns:a16="http://schemas.microsoft.com/office/drawing/2014/main" id="{435F4AC0-ADB0-4739-A14F-5A6A40A5116C}"/>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22" name="Rectangle 21">
              <a:extLst>
                <a:ext uri="{FF2B5EF4-FFF2-40B4-BE49-F238E27FC236}">
                  <a16:creationId xmlns:a16="http://schemas.microsoft.com/office/drawing/2014/main" id="{C52640EC-1668-41EE-B721-169B827B389D}"/>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23" name="Rectangle 22">
              <a:extLst>
                <a:ext uri="{FF2B5EF4-FFF2-40B4-BE49-F238E27FC236}">
                  <a16:creationId xmlns:a16="http://schemas.microsoft.com/office/drawing/2014/main" id="{F58C86DE-C08E-427F-82AB-4EE10B958C12}"/>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grpSp>
      <p:sp>
        <p:nvSpPr>
          <p:cNvPr id="24" name="TextBox 23">
            <a:extLst>
              <a:ext uri="{FF2B5EF4-FFF2-40B4-BE49-F238E27FC236}">
                <a16:creationId xmlns:a16="http://schemas.microsoft.com/office/drawing/2014/main" id="{BAB7C39E-00A5-464C-852D-C75EAF717E1F}"/>
              </a:ext>
            </a:extLst>
          </p:cNvPr>
          <p:cNvSpPr txBox="1"/>
          <p:nvPr/>
        </p:nvSpPr>
        <p:spPr>
          <a:xfrm>
            <a:off x="1157050" y="3982681"/>
            <a:ext cx="8564680" cy="2554545"/>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effectLst/>
                <a:latin typeface="Times New Roman" panose="02020603050405020304" pitchFamily="18" charset="0"/>
                <a:ea typeface="Times New Roman" panose="02020603050405020304" pitchFamily="18" charset="0"/>
              </a:rPr>
              <a:t>Nguồn</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điện</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Tổng</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Công</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suất</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lắp</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err="1">
                <a:solidFill>
                  <a:srgbClr val="0070C0"/>
                </a:solidFill>
                <a:effectLst/>
                <a:latin typeface="Times New Roman" panose="02020603050405020304" pitchFamily="18" charset="0"/>
                <a:ea typeface="Times New Roman" panose="02020603050405020304" pitchFamily="18" charset="0"/>
              </a:rPr>
              <a:t>đặt</a:t>
            </a:r>
            <a:r>
              <a:rPr lang="en-US" sz="1600" b="1" dirty="0">
                <a:solidFill>
                  <a:srgbClr val="0070C0"/>
                </a:solidFill>
                <a:effectLst/>
                <a:latin typeface="Times New Roman" panose="02020603050405020304" pitchFamily="18" charset="0"/>
                <a:ea typeface="Times New Roman" panose="02020603050405020304" pitchFamily="18" charset="0"/>
              </a:rPr>
              <a:t>: </a:t>
            </a:r>
            <a:r>
              <a:rPr lang="en-US" sz="1600" b="1" dirty="0">
                <a:solidFill>
                  <a:srgbClr val="FF0000"/>
                </a:solidFill>
                <a:effectLst/>
                <a:latin typeface="Times New Roman" panose="02020603050405020304" pitchFamily="18" charset="0"/>
                <a:ea typeface="Times New Roman" panose="02020603050405020304" pitchFamily="18" charset="0"/>
              </a:rPr>
              <a:t>82.800</a:t>
            </a:r>
            <a:r>
              <a:rPr lang="en-US" sz="1600" b="1" dirty="0">
                <a:solidFill>
                  <a:srgbClr val="0070C0"/>
                </a:solidFill>
                <a:effectLst/>
                <a:latin typeface="Times New Roman" panose="02020603050405020304" pitchFamily="18" charset="0"/>
                <a:ea typeface="Times New Roman" panose="02020603050405020304" pitchFamily="18" charset="0"/>
              </a:rPr>
              <a:t> MW; Pmax-</a:t>
            </a:r>
            <a:r>
              <a:rPr lang="en-US" sz="1600" b="1" dirty="0">
                <a:solidFill>
                  <a:srgbClr val="FF0000"/>
                </a:solidFill>
                <a:effectLst/>
                <a:latin typeface="Times New Roman" panose="02020603050405020304" pitchFamily="18" charset="0"/>
                <a:ea typeface="Times New Roman" panose="02020603050405020304" pitchFamily="18" charset="0"/>
              </a:rPr>
              <a:t>45.600</a:t>
            </a:r>
            <a:r>
              <a:rPr lang="en-US" sz="1600" b="1" dirty="0">
                <a:solidFill>
                  <a:srgbClr val="0070C0"/>
                </a:solidFill>
                <a:effectLst/>
                <a:latin typeface="Times New Roman" panose="02020603050405020304" pitchFamily="18" charset="0"/>
                <a:ea typeface="Times New Roman" panose="02020603050405020304" pitchFamily="18" charset="0"/>
              </a:rPr>
              <a:t> MW</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rPr>
              <a:t>Lưới</a:t>
            </a:r>
            <a:r>
              <a:rPr lang="en-US" sz="1600" b="1" dirty="0">
                <a:solidFill>
                  <a:srgbClr val="0070C0"/>
                </a:solidFill>
                <a:latin typeface="Times New Roman" panose="02020603050405020304" pitchFamily="18" charset="0"/>
                <a:ea typeface="Calibri" panose="020F0502020204030204" pitchFamily="34" charset="0"/>
              </a:rPr>
              <a:t> điện </a:t>
            </a:r>
            <a:r>
              <a:rPr lang="en-US" sz="1600" b="1" dirty="0" err="1">
                <a:solidFill>
                  <a:srgbClr val="0070C0"/>
                </a:solidFill>
                <a:latin typeface="Times New Roman" panose="02020603050405020304" pitchFamily="18" charset="0"/>
                <a:ea typeface="Calibri" panose="020F0502020204030204" pitchFamily="34" charset="0"/>
              </a:rPr>
              <a:t>Truyền</a:t>
            </a:r>
            <a:r>
              <a:rPr lang="en-US" sz="1600" b="1" dirty="0">
                <a:solidFill>
                  <a:srgbClr val="0070C0"/>
                </a:solidFill>
                <a:latin typeface="Times New Roman" panose="02020603050405020304" pitchFamily="18" charset="0"/>
                <a:ea typeface="Calibri" panose="020F0502020204030204" pitchFamily="34" charset="0"/>
              </a:rPr>
              <a:t> </a:t>
            </a:r>
            <a:r>
              <a:rPr lang="en-US" sz="1600" b="1" dirty="0" err="1">
                <a:solidFill>
                  <a:srgbClr val="0070C0"/>
                </a:solidFill>
                <a:latin typeface="Times New Roman" panose="02020603050405020304" pitchFamily="18" charset="0"/>
                <a:ea typeface="Calibri" panose="020F0502020204030204" pitchFamily="34" charset="0"/>
              </a:rPr>
              <a:t>Tải</a:t>
            </a:r>
            <a:r>
              <a:rPr lang="en-US" sz="1600" b="1" dirty="0">
                <a:solidFill>
                  <a:srgbClr val="0070C0"/>
                </a:solidFill>
                <a:latin typeface="Times New Roman" panose="02020603050405020304" pitchFamily="18" charset="0"/>
                <a:ea typeface="Calibri" panose="020F0502020204030204" pitchFamily="34" charset="0"/>
              </a:rPr>
              <a:t> </a:t>
            </a:r>
            <a:r>
              <a:rPr lang="en-US" sz="1600" b="1" dirty="0" err="1">
                <a:solidFill>
                  <a:srgbClr val="0070C0"/>
                </a:solidFill>
                <a:latin typeface="Times New Roman" panose="02020603050405020304" pitchFamily="18" charset="0"/>
                <a:ea typeface="Calibri" panose="020F0502020204030204" pitchFamily="34" charset="0"/>
              </a:rPr>
              <a:t>từ</a:t>
            </a:r>
            <a:r>
              <a:rPr lang="en-US" sz="1600" b="1" dirty="0">
                <a:solidFill>
                  <a:srgbClr val="0070C0"/>
                </a:solidFill>
                <a:latin typeface="Times New Roman" panose="02020603050405020304" pitchFamily="18" charset="0"/>
                <a:ea typeface="Calibri" panose="020F0502020204030204" pitchFamily="34" charset="0"/>
              </a:rPr>
              <a:t> 110kv </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a:solidFill>
                  <a:srgbClr val="0070C0"/>
                </a:solidFill>
                <a:latin typeface="Times New Roman" panose="02020603050405020304" pitchFamily="18" charset="0"/>
                <a:ea typeface="Calibri" panose="020F0502020204030204" pitchFamily="34" charset="0"/>
              </a:rPr>
              <a:t>500kv: 26.500 Km </a:t>
            </a:r>
            <a:r>
              <a:rPr lang="en-US" sz="1600" b="1" dirty="0" err="1">
                <a:solidFill>
                  <a:srgbClr val="0070C0"/>
                </a:solidFill>
                <a:latin typeface="Times New Roman" panose="02020603050405020304" pitchFamily="18" charset="0"/>
                <a:ea typeface="Calibri" panose="020F0502020204030204" pitchFamily="34" charset="0"/>
              </a:rPr>
              <a:t>đường</a:t>
            </a:r>
            <a:r>
              <a:rPr lang="en-US" sz="1600" b="1" dirty="0">
                <a:solidFill>
                  <a:srgbClr val="0070C0"/>
                </a:solidFill>
                <a:latin typeface="Times New Roman" panose="02020603050405020304" pitchFamily="18" charset="0"/>
                <a:ea typeface="Calibri" panose="020F0502020204030204" pitchFamily="34" charset="0"/>
              </a:rPr>
              <a:t> </a:t>
            </a:r>
            <a:r>
              <a:rPr lang="en-US" sz="1600" b="1" dirty="0" err="1">
                <a:solidFill>
                  <a:srgbClr val="0070C0"/>
                </a:solidFill>
                <a:latin typeface="Times New Roman" panose="02020603050405020304" pitchFamily="18" charset="0"/>
                <a:ea typeface="Calibri" panose="020F0502020204030204" pitchFamily="34" charset="0"/>
              </a:rPr>
              <a:t>dây</a:t>
            </a:r>
            <a:r>
              <a:rPr lang="en-US" sz="1600" b="1" dirty="0">
                <a:solidFill>
                  <a:srgbClr val="0070C0"/>
                </a:solidFill>
                <a:latin typeface="Times New Roman" panose="02020603050405020304" pitchFamily="18" charset="0"/>
                <a:ea typeface="Calibri" panose="020F0502020204030204" pitchFamily="34" charset="0"/>
              </a:rPr>
              <a:t> ; 105.000 MVA TBA</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rPr>
              <a:t>Lưới</a:t>
            </a:r>
            <a:r>
              <a:rPr lang="en-US" sz="1600" b="1" dirty="0">
                <a:solidFill>
                  <a:srgbClr val="0070C0"/>
                </a:solidFill>
                <a:latin typeface="Times New Roman" panose="02020603050405020304" pitchFamily="18" charset="0"/>
                <a:ea typeface="Calibri" panose="020F0502020204030204" pitchFamily="34" charset="0"/>
              </a:rPr>
              <a:t> điện </a:t>
            </a:r>
            <a:r>
              <a:rPr lang="en-US" sz="1600" b="1" dirty="0" err="1">
                <a:solidFill>
                  <a:srgbClr val="0070C0"/>
                </a:solidFill>
                <a:latin typeface="Times New Roman" panose="02020603050405020304" pitchFamily="18" charset="0"/>
                <a:ea typeface="Calibri" panose="020F0502020204030204" pitchFamily="34" charset="0"/>
              </a:rPr>
              <a:t>phân</a:t>
            </a:r>
            <a:r>
              <a:rPr lang="en-US" sz="1600" b="1" dirty="0">
                <a:solidFill>
                  <a:srgbClr val="0070C0"/>
                </a:solidFill>
                <a:latin typeface="Times New Roman" panose="02020603050405020304" pitchFamily="18" charset="0"/>
                <a:ea typeface="Calibri" panose="020F0502020204030204" pitchFamily="34" charset="0"/>
              </a:rPr>
              <a:t> </a:t>
            </a:r>
            <a:r>
              <a:rPr lang="en-US" sz="1600" b="1" dirty="0" err="1">
                <a:solidFill>
                  <a:srgbClr val="0070C0"/>
                </a:solidFill>
                <a:latin typeface="Times New Roman" panose="02020603050405020304" pitchFamily="18" charset="0"/>
                <a:ea typeface="Calibri" panose="020F0502020204030204" pitchFamily="34" charset="0"/>
              </a:rPr>
              <a:t>phối</a:t>
            </a:r>
            <a:r>
              <a:rPr lang="en-US" sz="1600" b="1" dirty="0">
                <a:solidFill>
                  <a:srgbClr val="0070C0"/>
                </a:solidFill>
                <a:latin typeface="Times New Roman" panose="02020603050405020304" pitchFamily="18" charset="0"/>
                <a:ea typeface="Calibri" panose="020F0502020204030204" pitchFamily="34" charset="0"/>
              </a:rPr>
              <a:t>; </a:t>
            </a:r>
            <a:r>
              <a:rPr lang="en-US" sz="1600" b="1" dirty="0" err="1">
                <a:solidFill>
                  <a:srgbClr val="0070C0"/>
                </a:solidFill>
                <a:latin typeface="Times New Roman" panose="02020603050405020304" pitchFamily="18" charset="0"/>
                <a:ea typeface="Calibri" panose="020F0502020204030204" pitchFamily="34" charset="0"/>
              </a:rPr>
              <a:t>từ</a:t>
            </a:r>
            <a:r>
              <a:rPr lang="en-US" sz="1600" b="1" dirty="0">
                <a:solidFill>
                  <a:srgbClr val="0070C0"/>
                </a:solidFill>
                <a:latin typeface="Times New Roman" panose="02020603050405020304" pitchFamily="18" charset="0"/>
                <a:ea typeface="Calibri" panose="020F0502020204030204" pitchFamily="34" charset="0"/>
              </a:rPr>
              <a:t> 35kv </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0,4kv: 544.500 Km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ườ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dây</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116.000 MVA-TBA</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Khách</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hà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sử</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dụ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ưới</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Quốc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gia</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30,7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riệu</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khách</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hà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ỷ</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ệ</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hộ</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dâ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có</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ưới</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Quốc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gia</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99,76%</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ổ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sả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ượ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sả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xuất</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ủy</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hiệt</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ă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ượ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ái</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ạo</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và</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hập</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khẩu</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Trung Quốc,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ào</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284,5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ỷ</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KWh/ 2023</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ổ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sả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ượ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ươ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phẩm</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249,2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ỷ</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KWh</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2023</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ỷ</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lệ</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ổ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ất</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Điện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nă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oà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hệ</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óng</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ừ</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500 kw: 0,4kv): 6,15%  - 10 /2023</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Doanh</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hu</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bá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điệ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hơn</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488.000 </a:t>
            </a:r>
            <a:r>
              <a:rPr lang="en-US" sz="1600" b="1" dirty="0" err="1">
                <a:solidFill>
                  <a:srgbClr val="0070C0"/>
                </a:solidFill>
                <a:latin typeface="Times New Roman" panose="02020603050405020304" pitchFamily="18" charset="0"/>
                <a:ea typeface="Calibri" panose="020F0502020204030204" pitchFamily="34" charset="0"/>
                <a:sym typeface="Wingdings" panose="05000000000000000000" pitchFamily="2" charset="2"/>
              </a:rPr>
              <a:t>tỷ</a:t>
            </a:r>
            <a:r>
              <a:rPr lang="en-US" sz="1600" b="1" dirty="0">
                <a:solidFill>
                  <a:srgbClr val="0070C0"/>
                </a:solidFill>
                <a:latin typeface="Times New Roman" panose="02020603050405020304" pitchFamily="18" charset="0"/>
                <a:ea typeface="Calibri" panose="020F0502020204030204" pitchFamily="34" charset="0"/>
                <a:sym typeface="Wingdings" panose="05000000000000000000" pitchFamily="2" charset="2"/>
              </a:rPr>
              <a:t> VNĐ</a:t>
            </a:r>
            <a:endParaRPr lang="en-US" sz="1600" b="1" dirty="0">
              <a:solidFill>
                <a:srgbClr val="0070C0"/>
              </a:solidFill>
              <a:latin typeface="Times New Roman" panose="02020603050405020304" pitchFamily="18" charset="0"/>
              <a:ea typeface="Calibri" panose="020F0502020204030204" pitchFamily="34" charset="0"/>
            </a:endParaRPr>
          </a:p>
        </p:txBody>
      </p:sp>
      <p:sp>
        <p:nvSpPr>
          <p:cNvPr id="25" name="TextBox 24">
            <a:extLst>
              <a:ext uri="{FF2B5EF4-FFF2-40B4-BE49-F238E27FC236}">
                <a16:creationId xmlns:a16="http://schemas.microsoft.com/office/drawing/2014/main" id="{BAB7C39E-00A5-464C-852D-C75EAF717E1F}"/>
              </a:ext>
            </a:extLst>
          </p:cNvPr>
          <p:cNvSpPr txBox="1"/>
          <p:nvPr/>
        </p:nvSpPr>
        <p:spPr>
          <a:xfrm>
            <a:off x="2327564" y="3463744"/>
            <a:ext cx="7496046" cy="353943"/>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en-US" sz="1700" b="1" dirty="0">
                <a:solidFill>
                  <a:srgbClr val="0070C0"/>
                </a:solidFill>
                <a:effectLst/>
                <a:latin typeface="Times New Roman" panose="02020603050405020304" pitchFamily="18" charset="0"/>
                <a:ea typeface="Times New Roman" panose="02020603050405020304" pitchFamily="18" charset="0"/>
              </a:rPr>
              <a:t>(</a:t>
            </a:r>
            <a:r>
              <a:rPr lang="en-US" sz="1700" b="1" dirty="0" err="1">
                <a:solidFill>
                  <a:srgbClr val="0070C0"/>
                </a:solidFill>
                <a:effectLst/>
                <a:latin typeface="Times New Roman" panose="02020603050405020304" pitchFamily="18" charset="0"/>
                <a:ea typeface="Times New Roman" panose="02020603050405020304" pitchFamily="18" charset="0"/>
              </a:rPr>
              <a:t>Tính</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đến</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err="1">
                <a:solidFill>
                  <a:srgbClr val="0070C0"/>
                </a:solidFill>
                <a:effectLst/>
                <a:latin typeface="Times New Roman" panose="02020603050405020304" pitchFamily="18" charset="0"/>
                <a:ea typeface="Times New Roman" panose="02020603050405020304" pitchFamily="18" charset="0"/>
              </a:rPr>
              <a:t>tháng</a:t>
            </a:r>
            <a:r>
              <a:rPr lang="en-US" sz="1700" b="1" dirty="0">
                <a:solidFill>
                  <a:srgbClr val="0070C0"/>
                </a:solidFill>
                <a:effectLst/>
                <a:latin typeface="Times New Roman" panose="02020603050405020304" pitchFamily="18" charset="0"/>
                <a:ea typeface="Times New Roman" panose="02020603050405020304" pitchFamily="18" charset="0"/>
              </a:rPr>
              <a:t> </a:t>
            </a:r>
            <a:r>
              <a:rPr lang="en-US" sz="1700" b="1" dirty="0">
                <a:solidFill>
                  <a:srgbClr val="FF0000"/>
                </a:solidFill>
                <a:effectLst/>
                <a:latin typeface="Times New Roman" panose="02020603050405020304" pitchFamily="18" charset="0"/>
                <a:ea typeface="Times New Roman" panose="02020603050405020304" pitchFamily="18" charset="0"/>
              </a:rPr>
              <a:t>10/2023</a:t>
            </a:r>
            <a:r>
              <a:rPr lang="en-US" sz="1700" b="1" dirty="0">
                <a:solidFill>
                  <a:srgbClr val="0070C0"/>
                </a:solidFill>
                <a:effectLst/>
                <a:latin typeface="Times New Roman" panose="02020603050405020304" pitchFamily="18" charset="0"/>
                <a:ea typeface="Times New Roman" panose="02020603050405020304" pitchFamily="18" charset="0"/>
              </a:rPr>
              <a:t>)</a:t>
            </a:r>
            <a:endParaRPr lang="en-US" sz="1700" b="1" dirty="0">
              <a:solidFill>
                <a:srgbClr val="0070C0"/>
              </a:solidFill>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27668273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44B3FE-0426-4DD7-8F0C-4206A07EEE72}"/>
              </a:ext>
            </a:extLst>
          </p:cNvPr>
          <p:cNvSpPr/>
          <p:nvPr/>
        </p:nvSpPr>
        <p:spPr>
          <a:xfrm>
            <a:off x="0" y="134905"/>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CÁC HOẠT ĐỘNG ƯU TIÊN</a:t>
            </a:r>
          </a:p>
        </p:txBody>
      </p:sp>
      <p:grpSp>
        <p:nvGrpSpPr>
          <p:cNvPr id="8" name="Group 7">
            <a:extLst>
              <a:ext uri="{FF2B5EF4-FFF2-40B4-BE49-F238E27FC236}">
                <a16:creationId xmlns:a16="http://schemas.microsoft.com/office/drawing/2014/main" id="{79A180A0-C227-4066-95E6-254CCF47F5DD}"/>
              </a:ext>
            </a:extLst>
          </p:cNvPr>
          <p:cNvGrpSpPr/>
          <p:nvPr/>
        </p:nvGrpSpPr>
        <p:grpSpPr>
          <a:xfrm>
            <a:off x="5422632" y="799415"/>
            <a:ext cx="1369406" cy="36576"/>
            <a:chOff x="1775295" y="2020905"/>
            <a:chExt cx="3631535" cy="45719"/>
          </a:xfrm>
        </p:grpSpPr>
        <p:sp>
          <p:nvSpPr>
            <p:cNvPr id="9" name="Rectangle 8">
              <a:extLst>
                <a:ext uri="{FF2B5EF4-FFF2-40B4-BE49-F238E27FC236}">
                  <a16:creationId xmlns:a16="http://schemas.microsoft.com/office/drawing/2014/main" id="{8A30EC37-704A-4D9E-84C5-BCAB2D7CDDB6}"/>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0" name="Rectangle 9">
              <a:extLst>
                <a:ext uri="{FF2B5EF4-FFF2-40B4-BE49-F238E27FC236}">
                  <a16:creationId xmlns:a16="http://schemas.microsoft.com/office/drawing/2014/main" id="{F3C2CF73-7006-426D-84A0-AD3D5A105178}"/>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E1038B2A-33EA-45FC-8CB5-B6497ACEF530}"/>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65ACF2A6-CF63-46B4-8A89-8FDC458CB25E}"/>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74AA07E5-C83E-4935-9BA4-83873155C450}"/>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D9B5008D-983F-4C1E-B01D-16694F057A64}"/>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18" name="Group 17">
            <a:extLst>
              <a:ext uri="{FF2B5EF4-FFF2-40B4-BE49-F238E27FC236}">
                <a16:creationId xmlns:a16="http://schemas.microsoft.com/office/drawing/2014/main" id="{7C20CADD-5696-4602-B999-5366EC8E7C13}"/>
              </a:ext>
            </a:extLst>
          </p:cNvPr>
          <p:cNvGrpSpPr/>
          <p:nvPr/>
        </p:nvGrpSpPr>
        <p:grpSpPr>
          <a:xfrm>
            <a:off x="808111" y="-1847"/>
            <a:ext cx="762978" cy="3628896"/>
            <a:chOff x="808111" y="-1847"/>
            <a:chExt cx="762978" cy="3628896"/>
          </a:xfrm>
          <a:solidFill>
            <a:schemeClr val="accent2"/>
          </a:solidFill>
        </p:grpSpPr>
        <p:sp>
          <p:nvSpPr>
            <p:cNvPr id="19" name="Rectangle 18">
              <a:extLst>
                <a:ext uri="{FF2B5EF4-FFF2-40B4-BE49-F238E27FC236}">
                  <a16:creationId xmlns:a16="http://schemas.microsoft.com/office/drawing/2014/main" id="{68D458BE-2280-4F00-8177-31CB0CD6C115}"/>
                </a:ext>
              </a:extLst>
            </p:cNvPr>
            <p:cNvSpPr/>
            <p:nvPr/>
          </p:nvSpPr>
          <p:spPr>
            <a:xfrm>
              <a:off x="1152817" y="-1847"/>
              <a:ext cx="72000" cy="23774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p:txBody>
        </p:sp>
        <p:sp>
          <p:nvSpPr>
            <p:cNvPr id="20" name="Freeform: Shape 19">
              <a:extLst>
                <a:ext uri="{FF2B5EF4-FFF2-40B4-BE49-F238E27FC236}">
                  <a16:creationId xmlns:a16="http://schemas.microsoft.com/office/drawing/2014/main" id="{3DE1DFEF-CE2B-47EE-9CDC-84C0AC5ACDF4}"/>
                </a:ext>
              </a:extLst>
            </p:cNvPr>
            <p:cNvSpPr/>
            <p:nvPr/>
          </p:nvSpPr>
          <p:spPr>
            <a:xfrm rot="5400000" flipH="1">
              <a:off x="560777" y="2616737"/>
              <a:ext cx="1257646" cy="762978"/>
            </a:xfrm>
            <a:custGeom>
              <a:avLst/>
              <a:gdLst>
                <a:gd name="connsiteX0" fmla="*/ 782320 w 1075004"/>
                <a:gd name="connsiteY0" fmla="*/ 253920 h 652174"/>
                <a:gd name="connsiteX1" fmla="*/ 763875 w 1075004"/>
                <a:gd name="connsiteY1" fmla="*/ 269397 h 652174"/>
                <a:gd name="connsiteX2" fmla="*/ 421371 w 1075004"/>
                <a:gd name="connsiteY2" fmla="*/ 239432 h 652174"/>
                <a:gd name="connsiteX3" fmla="*/ 421370 w 1075004"/>
                <a:gd name="connsiteY3" fmla="*/ 253855 h 652174"/>
                <a:gd name="connsiteX4" fmla="*/ 447078 w 1075004"/>
                <a:gd name="connsiteY4" fmla="*/ 253855 h 652174"/>
                <a:gd name="connsiteX5" fmla="*/ 464104 w 1075004"/>
                <a:gd name="connsiteY5" fmla="*/ 270881 h 652174"/>
                <a:gd name="connsiteX6" fmla="*/ 464104 w 1075004"/>
                <a:gd name="connsiteY6" fmla="*/ 270880 h 652174"/>
                <a:gd name="connsiteX7" fmla="*/ 447079 w 1075004"/>
                <a:gd name="connsiteY7" fmla="*/ 287906 h 652174"/>
                <a:gd name="connsiteX8" fmla="*/ 421371 w 1075004"/>
                <a:gd name="connsiteY8" fmla="*/ 287906 h 652174"/>
                <a:gd name="connsiteX9" fmla="*/ 421371 w 1075004"/>
                <a:gd name="connsiteY9" fmla="*/ 311228 h 652174"/>
                <a:gd name="connsiteX10" fmla="*/ 447078 w 1075004"/>
                <a:gd name="connsiteY10" fmla="*/ 311228 h 652174"/>
                <a:gd name="connsiteX11" fmla="*/ 464104 w 1075004"/>
                <a:gd name="connsiteY11" fmla="*/ 328254 h 652174"/>
                <a:gd name="connsiteX12" fmla="*/ 464104 w 1075004"/>
                <a:gd name="connsiteY12" fmla="*/ 328254 h 652174"/>
                <a:gd name="connsiteX13" fmla="*/ 447079 w 1075004"/>
                <a:gd name="connsiteY13" fmla="*/ 345279 h 652174"/>
                <a:gd name="connsiteX14" fmla="*/ 421371 w 1075004"/>
                <a:gd name="connsiteY14" fmla="*/ 345280 h 652174"/>
                <a:gd name="connsiteX15" fmla="*/ 421371 w 1075004"/>
                <a:gd name="connsiteY15" fmla="*/ 368602 h 652174"/>
                <a:gd name="connsiteX16" fmla="*/ 447078 w 1075004"/>
                <a:gd name="connsiteY16" fmla="*/ 368602 h 652174"/>
                <a:gd name="connsiteX17" fmla="*/ 464104 w 1075004"/>
                <a:gd name="connsiteY17" fmla="*/ 385628 h 652174"/>
                <a:gd name="connsiteX18" fmla="*/ 464104 w 1075004"/>
                <a:gd name="connsiteY18" fmla="*/ 385628 h 652174"/>
                <a:gd name="connsiteX19" fmla="*/ 447079 w 1075004"/>
                <a:gd name="connsiteY19" fmla="*/ 402653 h 652174"/>
                <a:gd name="connsiteX20" fmla="*/ 421371 w 1075004"/>
                <a:gd name="connsiteY20" fmla="*/ 402653 h 652174"/>
                <a:gd name="connsiteX21" fmla="*/ 421370 w 1075004"/>
                <a:gd name="connsiteY21" fmla="*/ 417163 h 652174"/>
                <a:gd name="connsiteX22" fmla="*/ 762268 w 1075004"/>
                <a:gd name="connsiteY22" fmla="*/ 381333 h 652174"/>
                <a:gd name="connsiteX23" fmla="*/ 780980 w 1075004"/>
                <a:gd name="connsiteY23" fmla="*/ 396486 h 652174"/>
                <a:gd name="connsiteX24" fmla="*/ 765828 w 1075004"/>
                <a:gd name="connsiteY24" fmla="*/ 415198 h 652174"/>
                <a:gd name="connsiteX25" fmla="*/ 415893 w 1075004"/>
                <a:gd name="connsiteY25" fmla="*/ 451978 h 652174"/>
                <a:gd name="connsiteX26" fmla="*/ 397181 w 1075004"/>
                <a:gd name="connsiteY26" fmla="*/ 436825 h 652174"/>
                <a:gd name="connsiteX27" fmla="*/ 398889 w 1075004"/>
                <a:gd name="connsiteY27" fmla="*/ 431061 h 652174"/>
                <a:gd name="connsiteX28" fmla="*/ 398669 w 1075004"/>
                <a:gd name="connsiteY28" fmla="*/ 430531 h 652174"/>
                <a:gd name="connsiteX29" fmla="*/ 398669 w 1075004"/>
                <a:gd name="connsiteY29" fmla="*/ 402653 h 652174"/>
                <a:gd name="connsiteX30" fmla="*/ 372962 w 1075004"/>
                <a:gd name="connsiteY30" fmla="*/ 402654 h 652174"/>
                <a:gd name="connsiteX31" fmla="*/ 355936 w 1075004"/>
                <a:gd name="connsiteY31" fmla="*/ 385628 h 652174"/>
                <a:gd name="connsiteX32" fmla="*/ 372962 w 1075004"/>
                <a:gd name="connsiteY32" fmla="*/ 368602 h 652174"/>
                <a:gd name="connsiteX33" fmla="*/ 398669 w 1075004"/>
                <a:gd name="connsiteY33" fmla="*/ 368602 h 652174"/>
                <a:gd name="connsiteX34" fmla="*/ 398670 w 1075004"/>
                <a:gd name="connsiteY34" fmla="*/ 345280 h 652174"/>
                <a:gd name="connsiteX35" fmla="*/ 372962 w 1075004"/>
                <a:gd name="connsiteY35" fmla="*/ 345280 h 652174"/>
                <a:gd name="connsiteX36" fmla="*/ 355936 w 1075004"/>
                <a:gd name="connsiteY36" fmla="*/ 328254 h 652174"/>
                <a:gd name="connsiteX37" fmla="*/ 372962 w 1075004"/>
                <a:gd name="connsiteY37" fmla="*/ 311229 h 652174"/>
                <a:gd name="connsiteX38" fmla="*/ 398669 w 1075004"/>
                <a:gd name="connsiteY38" fmla="*/ 311228 h 652174"/>
                <a:gd name="connsiteX39" fmla="*/ 398669 w 1075004"/>
                <a:gd name="connsiteY39" fmla="*/ 287906 h 652174"/>
                <a:gd name="connsiteX40" fmla="*/ 372962 w 1075004"/>
                <a:gd name="connsiteY40" fmla="*/ 287906 h 652174"/>
                <a:gd name="connsiteX41" fmla="*/ 355936 w 1075004"/>
                <a:gd name="connsiteY41" fmla="*/ 270881 h 652174"/>
                <a:gd name="connsiteX42" fmla="*/ 372962 w 1075004"/>
                <a:gd name="connsiteY42" fmla="*/ 253855 h 652174"/>
                <a:gd name="connsiteX43" fmla="*/ 398670 w 1075004"/>
                <a:gd name="connsiteY43" fmla="*/ 253855 h 652174"/>
                <a:gd name="connsiteX44" fmla="*/ 398670 w 1075004"/>
                <a:gd name="connsiteY44" fmla="*/ 226225 h 652174"/>
                <a:gd name="connsiteX45" fmla="*/ 399282 w 1075004"/>
                <a:gd name="connsiteY45" fmla="*/ 224746 h 652174"/>
                <a:gd name="connsiteX46" fmla="*/ 397876 w 1075004"/>
                <a:gd name="connsiteY46" fmla="*/ 220286 h 652174"/>
                <a:gd name="connsiteX47" fmla="*/ 416321 w 1075004"/>
                <a:gd name="connsiteY47" fmla="*/ 204808 h 652174"/>
                <a:gd name="connsiteX48" fmla="*/ 766843 w 1075004"/>
                <a:gd name="connsiteY48" fmla="*/ 235475 h 652174"/>
                <a:gd name="connsiteX49" fmla="*/ 782320 w 1075004"/>
                <a:gd name="connsiteY49" fmla="*/ 253920 h 652174"/>
                <a:gd name="connsiteX50" fmla="*/ 787242 w 1075004"/>
                <a:gd name="connsiteY50" fmla="*/ 326088 h 652174"/>
                <a:gd name="connsiteX51" fmla="*/ 785600 w 1075004"/>
                <a:gd name="connsiteY51" fmla="*/ 324446 h 652174"/>
                <a:gd name="connsiteX52" fmla="*/ 785600 w 1075004"/>
                <a:gd name="connsiteY52" fmla="*/ 237208 h 652174"/>
                <a:gd name="connsiteX53" fmla="*/ 722116 w 1075004"/>
                <a:gd name="connsiteY53" fmla="*/ 173723 h 652174"/>
                <a:gd name="connsiteX54" fmla="*/ 634876 w 1075004"/>
                <a:gd name="connsiteY54" fmla="*/ 173723 h 652174"/>
                <a:gd name="connsiteX55" fmla="*/ 556664 w 1075004"/>
                <a:gd name="connsiteY55" fmla="*/ 95510 h 652174"/>
                <a:gd name="connsiteX56" fmla="*/ 95508 w 1075004"/>
                <a:gd name="connsiteY56" fmla="*/ 95510 h 652174"/>
                <a:gd name="connsiteX57" fmla="*/ 0 w 1075004"/>
                <a:gd name="connsiteY57" fmla="*/ 326088 h 652174"/>
                <a:gd name="connsiteX58" fmla="*/ 95508 w 1075004"/>
                <a:gd name="connsiteY58" fmla="*/ 556666 h 652174"/>
                <a:gd name="connsiteX59" fmla="*/ 556665 w 1075004"/>
                <a:gd name="connsiteY59" fmla="*/ 556666 h 652174"/>
                <a:gd name="connsiteX60" fmla="*/ 634877 w 1075004"/>
                <a:gd name="connsiteY60" fmla="*/ 478453 h 652174"/>
                <a:gd name="connsiteX61" fmla="*/ 722116 w 1075004"/>
                <a:gd name="connsiteY61" fmla="*/ 478454 h 652174"/>
                <a:gd name="connsiteX62" fmla="*/ 785600 w 1075004"/>
                <a:gd name="connsiteY62" fmla="*/ 414969 h 652174"/>
                <a:gd name="connsiteX63" fmla="*/ 785600 w 1075004"/>
                <a:gd name="connsiteY63" fmla="*/ 327730 h 652174"/>
                <a:gd name="connsiteX64" fmla="*/ 893383 w 1075004"/>
                <a:gd name="connsiteY64" fmla="*/ 437431 h 652174"/>
                <a:gd name="connsiteX65" fmla="*/ 893383 w 1075004"/>
                <a:gd name="connsiteY65" fmla="*/ 214744 h 652174"/>
                <a:gd name="connsiteX66" fmla="*/ 864082 w 1075004"/>
                <a:gd name="connsiteY66" fmla="*/ 185443 h 652174"/>
                <a:gd name="connsiteX67" fmla="*/ 834781 w 1075004"/>
                <a:gd name="connsiteY67" fmla="*/ 214744 h 652174"/>
                <a:gd name="connsiteX68" fmla="*/ 834781 w 1075004"/>
                <a:gd name="connsiteY68" fmla="*/ 437432 h 652174"/>
                <a:gd name="connsiteX69" fmla="*/ 864082 w 1075004"/>
                <a:gd name="connsiteY69" fmla="*/ 466733 h 652174"/>
                <a:gd name="connsiteX70" fmla="*/ 864082 w 1075004"/>
                <a:gd name="connsiteY70" fmla="*/ 466732 h 652174"/>
                <a:gd name="connsiteX71" fmla="*/ 893383 w 1075004"/>
                <a:gd name="connsiteY71" fmla="*/ 437431 h 652174"/>
                <a:gd name="connsiteX72" fmla="*/ 984194 w 1075004"/>
                <a:gd name="connsiteY72" fmla="*/ 425711 h 652174"/>
                <a:gd name="connsiteX73" fmla="*/ 984193 w 1075004"/>
                <a:gd name="connsiteY73" fmla="*/ 226464 h 652174"/>
                <a:gd name="connsiteX74" fmla="*/ 954893 w 1075004"/>
                <a:gd name="connsiteY74" fmla="*/ 197163 h 652174"/>
                <a:gd name="connsiteX75" fmla="*/ 925591 w 1075004"/>
                <a:gd name="connsiteY75" fmla="*/ 226464 h 652174"/>
                <a:gd name="connsiteX76" fmla="*/ 925591 w 1075004"/>
                <a:gd name="connsiteY76" fmla="*/ 425711 h 652174"/>
                <a:gd name="connsiteX77" fmla="*/ 954893 w 1075004"/>
                <a:gd name="connsiteY77" fmla="*/ 455012 h 652174"/>
                <a:gd name="connsiteX78" fmla="*/ 954893 w 1075004"/>
                <a:gd name="connsiteY78" fmla="*/ 455012 h 652174"/>
                <a:gd name="connsiteX79" fmla="*/ 984194 w 1075004"/>
                <a:gd name="connsiteY79" fmla="*/ 425711 h 652174"/>
                <a:gd name="connsiteX80" fmla="*/ 1075004 w 1075004"/>
                <a:gd name="connsiteY80" fmla="*/ 402269 h 652174"/>
                <a:gd name="connsiteX81" fmla="*/ 1075004 w 1075004"/>
                <a:gd name="connsiteY81" fmla="*/ 249905 h 652174"/>
                <a:gd name="connsiteX82" fmla="*/ 1045703 w 1075004"/>
                <a:gd name="connsiteY82" fmla="*/ 220604 h 652174"/>
                <a:gd name="connsiteX83" fmla="*/ 1016402 w 1075004"/>
                <a:gd name="connsiteY83" fmla="*/ 249905 h 652174"/>
                <a:gd name="connsiteX84" fmla="*/ 1016402 w 1075004"/>
                <a:gd name="connsiteY84" fmla="*/ 402270 h 652174"/>
                <a:gd name="connsiteX85" fmla="*/ 1045703 w 1075004"/>
                <a:gd name="connsiteY85" fmla="*/ 431571 h 652174"/>
                <a:gd name="connsiteX86" fmla="*/ 1045703 w 1075004"/>
                <a:gd name="connsiteY86" fmla="*/ 431571 h 652174"/>
                <a:gd name="connsiteX87" fmla="*/ 1075004 w 1075004"/>
                <a:gd name="connsiteY87" fmla="*/ 402269 h 65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75004" h="652174">
                  <a:moveTo>
                    <a:pt x="782320" y="253920"/>
                  </a:moveTo>
                  <a:cubicBezTo>
                    <a:pt x="781500" y="263287"/>
                    <a:pt x="773242" y="270216"/>
                    <a:pt x="763875" y="269397"/>
                  </a:cubicBezTo>
                  <a:cubicBezTo>
                    <a:pt x="649707" y="259409"/>
                    <a:pt x="535539" y="249421"/>
                    <a:pt x="421371" y="239432"/>
                  </a:cubicBezTo>
                  <a:lnTo>
                    <a:pt x="421370" y="253855"/>
                  </a:lnTo>
                  <a:lnTo>
                    <a:pt x="447078" y="253855"/>
                  </a:lnTo>
                  <a:cubicBezTo>
                    <a:pt x="456482" y="253854"/>
                    <a:pt x="464104" y="261477"/>
                    <a:pt x="464104" y="270881"/>
                  </a:cubicBezTo>
                  <a:lnTo>
                    <a:pt x="464104" y="270880"/>
                  </a:lnTo>
                  <a:cubicBezTo>
                    <a:pt x="464104" y="280283"/>
                    <a:pt x="456482" y="287906"/>
                    <a:pt x="447079" y="287906"/>
                  </a:cubicBezTo>
                  <a:cubicBezTo>
                    <a:pt x="438509" y="287906"/>
                    <a:pt x="429940" y="287905"/>
                    <a:pt x="421371" y="287906"/>
                  </a:cubicBezTo>
                  <a:lnTo>
                    <a:pt x="421371" y="311228"/>
                  </a:lnTo>
                  <a:lnTo>
                    <a:pt x="447078" y="311228"/>
                  </a:lnTo>
                  <a:cubicBezTo>
                    <a:pt x="456482" y="311228"/>
                    <a:pt x="464104" y="318851"/>
                    <a:pt x="464104" y="328254"/>
                  </a:cubicBezTo>
                  <a:lnTo>
                    <a:pt x="464104" y="328254"/>
                  </a:lnTo>
                  <a:cubicBezTo>
                    <a:pt x="464104" y="337656"/>
                    <a:pt x="456482" y="345279"/>
                    <a:pt x="447079" y="345279"/>
                  </a:cubicBezTo>
                  <a:cubicBezTo>
                    <a:pt x="438510" y="345279"/>
                    <a:pt x="429940" y="345279"/>
                    <a:pt x="421371" y="345280"/>
                  </a:cubicBezTo>
                  <a:lnTo>
                    <a:pt x="421371" y="368602"/>
                  </a:lnTo>
                  <a:lnTo>
                    <a:pt x="447078" y="368602"/>
                  </a:lnTo>
                  <a:cubicBezTo>
                    <a:pt x="456482" y="368602"/>
                    <a:pt x="464104" y="376224"/>
                    <a:pt x="464104" y="385628"/>
                  </a:cubicBezTo>
                  <a:lnTo>
                    <a:pt x="464104" y="385628"/>
                  </a:lnTo>
                  <a:cubicBezTo>
                    <a:pt x="464104" y="395031"/>
                    <a:pt x="456481" y="402653"/>
                    <a:pt x="447079" y="402653"/>
                  </a:cubicBezTo>
                  <a:cubicBezTo>
                    <a:pt x="438509" y="402653"/>
                    <a:pt x="429940" y="402653"/>
                    <a:pt x="421371" y="402653"/>
                  </a:cubicBezTo>
                  <a:lnTo>
                    <a:pt x="421370" y="417163"/>
                  </a:lnTo>
                  <a:lnTo>
                    <a:pt x="762268" y="381333"/>
                  </a:lnTo>
                  <a:cubicBezTo>
                    <a:pt x="771619" y="380351"/>
                    <a:pt x="779997" y="387135"/>
                    <a:pt x="780980" y="396486"/>
                  </a:cubicBezTo>
                  <a:cubicBezTo>
                    <a:pt x="781963" y="405838"/>
                    <a:pt x="775179" y="414215"/>
                    <a:pt x="765828" y="415198"/>
                  </a:cubicBezTo>
                  <a:cubicBezTo>
                    <a:pt x="649182" y="427458"/>
                    <a:pt x="532538" y="439719"/>
                    <a:pt x="415893" y="451978"/>
                  </a:cubicBezTo>
                  <a:cubicBezTo>
                    <a:pt x="406541" y="452961"/>
                    <a:pt x="398164" y="446177"/>
                    <a:pt x="397181" y="436825"/>
                  </a:cubicBezTo>
                  <a:cubicBezTo>
                    <a:pt x="396959" y="434721"/>
                    <a:pt x="397132" y="432666"/>
                    <a:pt x="398889" y="431061"/>
                  </a:cubicBezTo>
                  <a:lnTo>
                    <a:pt x="398669" y="430531"/>
                  </a:lnTo>
                  <a:lnTo>
                    <a:pt x="398669" y="402653"/>
                  </a:lnTo>
                  <a:lnTo>
                    <a:pt x="372962" y="402654"/>
                  </a:lnTo>
                  <a:cubicBezTo>
                    <a:pt x="363559" y="402654"/>
                    <a:pt x="355936" y="395032"/>
                    <a:pt x="355936" y="385628"/>
                  </a:cubicBezTo>
                  <a:cubicBezTo>
                    <a:pt x="355936" y="376225"/>
                    <a:pt x="363559" y="368602"/>
                    <a:pt x="372962" y="368602"/>
                  </a:cubicBezTo>
                  <a:lnTo>
                    <a:pt x="398669" y="368602"/>
                  </a:lnTo>
                  <a:lnTo>
                    <a:pt x="398670" y="345280"/>
                  </a:lnTo>
                  <a:lnTo>
                    <a:pt x="372962" y="345280"/>
                  </a:lnTo>
                  <a:cubicBezTo>
                    <a:pt x="363559" y="345279"/>
                    <a:pt x="355937" y="337657"/>
                    <a:pt x="355936" y="328254"/>
                  </a:cubicBezTo>
                  <a:cubicBezTo>
                    <a:pt x="355937" y="318851"/>
                    <a:pt x="363559" y="311228"/>
                    <a:pt x="372962" y="311229"/>
                  </a:cubicBezTo>
                  <a:lnTo>
                    <a:pt x="398669" y="311228"/>
                  </a:lnTo>
                  <a:lnTo>
                    <a:pt x="398669" y="287906"/>
                  </a:lnTo>
                  <a:lnTo>
                    <a:pt x="372962" y="287906"/>
                  </a:lnTo>
                  <a:cubicBezTo>
                    <a:pt x="363559" y="287906"/>
                    <a:pt x="355936" y="280284"/>
                    <a:pt x="355936" y="270881"/>
                  </a:cubicBezTo>
                  <a:cubicBezTo>
                    <a:pt x="355936" y="261477"/>
                    <a:pt x="363559" y="253855"/>
                    <a:pt x="372962" y="253855"/>
                  </a:cubicBezTo>
                  <a:lnTo>
                    <a:pt x="398670" y="253855"/>
                  </a:lnTo>
                  <a:lnTo>
                    <a:pt x="398670" y="226225"/>
                  </a:lnTo>
                  <a:cubicBezTo>
                    <a:pt x="398670" y="225700"/>
                    <a:pt x="398705" y="225183"/>
                    <a:pt x="399282" y="224746"/>
                  </a:cubicBezTo>
                  <a:lnTo>
                    <a:pt x="397876" y="220286"/>
                  </a:lnTo>
                  <a:cubicBezTo>
                    <a:pt x="398695" y="210918"/>
                    <a:pt x="406953" y="203989"/>
                    <a:pt x="416321" y="204808"/>
                  </a:cubicBezTo>
                  <a:lnTo>
                    <a:pt x="766843" y="235475"/>
                  </a:lnTo>
                  <a:cubicBezTo>
                    <a:pt x="776210" y="236295"/>
                    <a:pt x="783140" y="244552"/>
                    <a:pt x="782320" y="253920"/>
                  </a:cubicBezTo>
                  <a:close/>
                  <a:moveTo>
                    <a:pt x="787242" y="326088"/>
                  </a:moveTo>
                  <a:lnTo>
                    <a:pt x="785600" y="324446"/>
                  </a:lnTo>
                  <a:lnTo>
                    <a:pt x="785600" y="237208"/>
                  </a:lnTo>
                  <a:cubicBezTo>
                    <a:pt x="785600" y="202146"/>
                    <a:pt x="757177" y="173723"/>
                    <a:pt x="722116" y="173723"/>
                  </a:cubicBezTo>
                  <a:lnTo>
                    <a:pt x="634876" y="173723"/>
                  </a:lnTo>
                  <a:cubicBezTo>
                    <a:pt x="608806" y="147652"/>
                    <a:pt x="582735" y="121580"/>
                    <a:pt x="556664" y="95510"/>
                  </a:cubicBezTo>
                  <a:cubicBezTo>
                    <a:pt x="429319" y="-31836"/>
                    <a:pt x="222853" y="-31835"/>
                    <a:pt x="95508" y="95510"/>
                  </a:cubicBezTo>
                  <a:cubicBezTo>
                    <a:pt x="31836" y="159182"/>
                    <a:pt x="0" y="242635"/>
                    <a:pt x="0" y="326088"/>
                  </a:cubicBezTo>
                  <a:cubicBezTo>
                    <a:pt x="0" y="409541"/>
                    <a:pt x="31836" y="492993"/>
                    <a:pt x="95508" y="556666"/>
                  </a:cubicBezTo>
                  <a:cubicBezTo>
                    <a:pt x="222853" y="684011"/>
                    <a:pt x="429320" y="684011"/>
                    <a:pt x="556665" y="556666"/>
                  </a:cubicBezTo>
                  <a:lnTo>
                    <a:pt x="634877" y="478453"/>
                  </a:lnTo>
                  <a:lnTo>
                    <a:pt x="722116" y="478454"/>
                  </a:lnTo>
                  <a:cubicBezTo>
                    <a:pt x="757178" y="478453"/>
                    <a:pt x="785600" y="450030"/>
                    <a:pt x="785600" y="414969"/>
                  </a:cubicBezTo>
                  <a:lnTo>
                    <a:pt x="785600" y="327730"/>
                  </a:lnTo>
                  <a:close/>
                  <a:moveTo>
                    <a:pt x="893383" y="437431"/>
                  </a:moveTo>
                  <a:lnTo>
                    <a:pt x="893383" y="214744"/>
                  </a:lnTo>
                  <a:cubicBezTo>
                    <a:pt x="893383" y="198562"/>
                    <a:pt x="880265" y="185443"/>
                    <a:pt x="864082" y="185443"/>
                  </a:cubicBezTo>
                  <a:cubicBezTo>
                    <a:pt x="847900" y="185443"/>
                    <a:pt x="834781" y="198562"/>
                    <a:pt x="834781" y="214744"/>
                  </a:cubicBezTo>
                  <a:lnTo>
                    <a:pt x="834781" y="437432"/>
                  </a:lnTo>
                  <a:cubicBezTo>
                    <a:pt x="834781" y="453614"/>
                    <a:pt x="847900" y="466733"/>
                    <a:pt x="864082" y="466733"/>
                  </a:cubicBezTo>
                  <a:lnTo>
                    <a:pt x="864082" y="466732"/>
                  </a:lnTo>
                  <a:cubicBezTo>
                    <a:pt x="880265" y="466732"/>
                    <a:pt x="893383" y="453614"/>
                    <a:pt x="893383" y="437431"/>
                  </a:cubicBezTo>
                  <a:close/>
                  <a:moveTo>
                    <a:pt x="984194" y="425711"/>
                  </a:moveTo>
                  <a:lnTo>
                    <a:pt x="984193" y="226464"/>
                  </a:lnTo>
                  <a:cubicBezTo>
                    <a:pt x="984193" y="210282"/>
                    <a:pt x="971075" y="197164"/>
                    <a:pt x="954893" y="197163"/>
                  </a:cubicBezTo>
                  <a:cubicBezTo>
                    <a:pt x="938710" y="197164"/>
                    <a:pt x="925591" y="210282"/>
                    <a:pt x="925591" y="226464"/>
                  </a:cubicBezTo>
                  <a:lnTo>
                    <a:pt x="925591" y="425711"/>
                  </a:lnTo>
                  <a:cubicBezTo>
                    <a:pt x="925591" y="441894"/>
                    <a:pt x="938710" y="455012"/>
                    <a:pt x="954893" y="455012"/>
                  </a:cubicBezTo>
                  <a:lnTo>
                    <a:pt x="954893" y="455012"/>
                  </a:lnTo>
                  <a:cubicBezTo>
                    <a:pt x="971075" y="455012"/>
                    <a:pt x="984194" y="441893"/>
                    <a:pt x="984194" y="425711"/>
                  </a:cubicBezTo>
                  <a:close/>
                  <a:moveTo>
                    <a:pt x="1075004" y="402269"/>
                  </a:moveTo>
                  <a:lnTo>
                    <a:pt x="1075004" y="249905"/>
                  </a:lnTo>
                  <a:cubicBezTo>
                    <a:pt x="1075004" y="233722"/>
                    <a:pt x="1061885" y="220604"/>
                    <a:pt x="1045703" y="220604"/>
                  </a:cubicBezTo>
                  <a:cubicBezTo>
                    <a:pt x="1029520" y="220604"/>
                    <a:pt x="1016402" y="233722"/>
                    <a:pt x="1016402" y="249905"/>
                  </a:cubicBezTo>
                  <a:lnTo>
                    <a:pt x="1016402" y="402270"/>
                  </a:lnTo>
                  <a:cubicBezTo>
                    <a:pt x="1016402" y="418452"/>
                    <a:pt x="1029520" y="431571"/>
                    <a:pt x="1045703" y="431571"/>
                  </a:cubicBezTo>
                  <a:lnTo>
                    <a:pt x="1045703" y="431571"/>
                  </a:lnTo>
                  <a:cubicBezTo>
                    <a:pt x="1061885" y="431571"/>
                    <a:pt x="1075004" y="418452"/>
                    <a:pt x="1075004" y="40226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p:txBody>
        </p:sp>
      </p:grpSp>
      <p:sp>
        <p:nvSpPr>
          <p:cNvPr id="24" name="Rectangle: Rounded Corners 23">
            <a:extLst>
              <a:ext uri="{FF2B5EF4-FFF2-40B4-BE49-F238E27FC236}">
                <a16:creationId xmlns:a16="http://schemas.microsoft.com/office/drawing/2014/main" id="{9C48882C-27DB-4276-940D-9EBE79D31136}"/>
              </a:ext>
            </a:extLst>
          </p:cNvPr>
          <p:cNvSpPr/>
          <p:nvPr/>
        </p:nvSpPr>
        <p:spPr>
          <a:xfrm>
            <a:off x="3202488" y="3107667"/>
            <a:ext cx="630776" cy="630776"/>
          </a:xfrm>
          <a:prstGeom prst="round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25" name="Rectangle: Rounded Corners 24">
            <a:extLst>
              <a:ext uri="{FF2B5EF4-FFF2-40B4-BE49-F238E27FC236}">
                <a16:creationId xmlns:a16="http://schemas.microsoft.com/office/drawing/2014/main" id="{A97C1DB7-9EF3-4EC0-B681-1F298A2EBC64}"/>
              </a:ext>
            </a:extLst>
          </p:cNvPr>
          <p:cNvSpPr/>
          <p:nvPr/>
        </p:nvSpPr>
        <p:spPr>
          <a:xfrm>
            <a:off x="3911662" y="5265878"/>
            <a:ext cx="630776" cy="630776"/>
          </a:xfrm>
          <a:prstGeom prst="roundRect">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26" name="Rectangle: Rounded Corners 25">
            <a:extLst>
              <a:ext uri="{FF2B5EF4-FFF2-40B4-BE49-F238E27FC236}">
                <a16:creationId xmlns:a16="http://schemas.microsoft.com/office/drawing/2014/main" id="{705333C4-4390-4902-BECF-A9718553C13C}"/>
              </a:ext>
            </a:extLst>
          </p:cNvPr>
          <p:cNvSpPr/>
          <p:nvPr/>
        </p:nvSpPr>
        <p:spPr>
          <a:xfrm>
            <a:off x="1332629" y="1549000"/>
            <a:ext cx="630776" cy="630776"/>
          </a:xfrm>
          <a:prstGeom prst="round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nvGrpSpPr>
          <p:cNvPr id="27" name="Group 26">
            <a:extLst>
              <a:ext uri="{FF2B5EF4-FFF2-40B4-BE49-F238E27FC236}">
                <a16:creationId xmlns:a16="http://schemas.microsoft.com/office/drawing/2014/main" id="{12EEFADC-C2E2-4BF8-8675-4642EF070BDE}"/>
              </a:ext>
            </a:extLst>
          </p:cNvPr>
          <p:cNvGrpSpPr/>
          <p:nvPr/>
        </p:nvGrpSpPr>
        <p:grpSpPr>
          <a:xfrm>
            <a:off x="3977762" y="3065470"/>
            <a:ext cx="7985638" cy="1687118"/>
            <a:chOff x="1758830" y="1709816"/>
            <a:chExt cx="2741161" cy="1687118"/>
          </a:xfrm>
        </p:grpSpPr>
        <p:sp>
          <p:nvSpPr>
            <p:cNvPr id="28" name="TextBox 27">
              <a:extLst>
                <a:ext uri="{FF2B5EF4-FFF2-40B4-BE49-F238E27FC236}">
                  <a16:creationId xmlns:a16="http://schemas.microsoft.com/office/drawing/2014/main" id="{4454137D-2791-4707-827D-F43167C3DBCD}"/>
                </a:ext>
              </a:extLst>
            </p:cNvPr>
            <p:cNvSpPr txBox="1"/>
            <p:nvPr/>
          </p:nvSpPr>
          <p:spPr>
            <a:xfrm>
              <a:off x="1758830" y="2073495"/>
              <a:ext cx="2741158" cy="1323439"/>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ải</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hiện</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hất</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lượng</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số</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lượng</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ứng</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iên</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nộp</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đơn</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ào</a:t>
              </a:r>
              <a:r>
                <a:rPr lang="en-US" altLang="ko-KR"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EVN.</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ạo</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ơ</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hội</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ốt</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hơn</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phụ</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ham</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gia</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ào</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ô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iệc</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kỹ</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huật</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đó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góp</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EVN.</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ạo</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môi</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rườ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làm</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việc</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đa</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dạ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ro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EVN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để</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tă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nă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suất</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 lao </a:t>
              </a:r>
              <a:r>
                <a:rPr lang="en-US" sz="2000" dirty="0" err="1">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động</a:t>
              </a:r>
              <a:r>
                <a:rPr lang="en-US" sz="2000" dirty="0">
                  <a:solidFill>
                    <a:srgbClr val="ED7D31"/>
                  </a:solidFill>
                  <a:latin typeface="Times New Roman" panose="02020603050405020304" pitchFamily="18" charset="0"/>
                  <a:ea typeface="맑은 고딕" panose="020B0503020000020004" pitchFamily="34" charset="-127"/>
                  <a:cs typeface="Times New Roman" panose="02020603050405020304" pitchFamily="18" charset="0"/>
                </a:rPr>
                <a:t>.</a:t>
              </a:r>
              <a:endPar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p:txBody>
        </p:sp>
        <p:sp>
          <p:nvSpPr>
            <p:cNvPr id="29" name="TextBox 28">
              <a:extLst>
                <a:ext uri="{FF2B5EF4-FFF2-40B4-BE49-F238E27FC236}">
                  <a16:creationId xmlns:a16="http://schemas.microsoft.com/office/drawing/2014/main" id="{E1AFC78B-56A1-4B57-8C5F-D3A5C932785F}"/>
                </a:ext>
              </a:extLst>
            </p:cNvPr>
            <p:cNvSpPr txBox="1"/>
            <p:nvPr/>
          </p:nvSpPr>
          <p:spPr>
            <a:xfrm>
              <a:off x="1758833" y="1709816"/>
              <a:ext cx="274115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Lợi</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íc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ủa</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doan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nghiệp</a:t>
              </a:r>
              <a:endParaRPr kumimoji="0" lang="ko-KR" altLang="en-US"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grpSp>
        <p:nvGrpSpPr>
          <p:cNvPr id="30" name="Group 29">
            <a:extLst>
              <a:ext uri="{FF2B5EF4-FFF2-40B4-BE49-F238E27FC236}">
                <a16:creationId xmlns:a16="http://schemas.microsoft.com/office/drawing/2014/main" id="{30DE995F-1D6D-4540-9826-1D7C4BBAE068}"/>
              </a:ext>
            </a:extLst>
          </p:cNvPr>
          <p:cNvGrpSpPr/>
          <p:nvPr/>
        </p:nvGrpSpPr>
        <p:grpSpPr>
          <a:xfrm>
            <a:off x="4684345" y="5142526"/>
            <a:ext cx="7202843" cy="1447147"/>
            <a:chOff x="1758833" y="1699136"/>
            <a:chExt cx="2741158" cy="1754754"/>
          </a:xfrm>
        </p:grpSpPr>
        <p:sp>
          <p:nvSpPr>
            <p:cNvPr id="31" name="TextBox 30">
              <a:extLst>
                <a:ext uri="{FF2B5EF4-FFF2-40B4-BE49-F238E27FC236}">
                  <a16:creationId xmlns:a16="http://schemas.microsoft.com/office/drawing/2014/main" id="{A5906D2B-3627-4B78-988F-F27DE9B42284}"/>
                </a:ext>
              </a:extLst>
            </p:cNvPr>
            <p:cNvSpPr txBox="1"/>
            <p:nvPr/>
          </p:nvSpPr>
          <p:spPr>
            <a:xfrm>
              <a:off x="1758833" y="2129037"/>
              <a:ext cx="2741158" cy="1324853"/>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ê</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duyệt</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hính</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sách</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và</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ỗ</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ợ</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ài</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hính</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ươ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ì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ọ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bổ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hự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ập</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si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a:t>
              </a:r>
              <a:endPar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Sự</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anh</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anh</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khốc</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liệt</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giữa</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ác</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ường</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PHTH </a:t>
              </a:r>
              <a:r>
                <a:rPr kumimoji="0" lang="en-US" altLang="ko-KR" sz="2000" b="0"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và</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ạ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ọ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a:t>
              </a:r>
              <a:endPar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2" name="TextBox 31">
              <a:extLst>
                <a:ext uri="{FF2B5EF4-FFF2-40B4-BE49-F238E27FC236}">
                  <a16:creationId xmlns:a16="http://schemas.microsoft.com/office/drawing/2014/main" id="{E79650C5-4100-4868-82D3-EDDB5830F9FB}"/>
                </a:ext>
              </a:extLst>
            </p:cNvPr>
            <p:cNvSpPr txBox="1"/>
            <p:nvPr/>
          </p:nvSpPr>
          <p:spPr>
            <a:xfrm>
              <a:off x="1758833" y="1699136"/>
              <a:ext cx="2741158" cy="4851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ác</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ỗ</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ợ</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ần</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hiết</a:t>
              </a:r>
              <a:endPar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grpSp>
        <p:nvGrpSpPr>
          <p:cNvPr id="33" name="Group 32">
            <a:extLst>
              <a:ext uri="{FF2B5EF4-FFF2-40B4-BE49-F238E27FC236}">
                <a16:creationId xmlns:a16="http://schemas.microsoft.com/office/drawing/2014/main" id="{9AC11E50-A5B4-4573-A215-022770BF3253}"/>
              </a:ext>
            </a:extLst>
          </p:cNvPr>
          <p:cNvGrpSpPr/>
          <p:nvPr/>
        </p:nvGrpSpPr>
        <p:grpSpPr>
          <a:xfrm>
            <a:off x="2001060" y="1477597"/>
            <a:ext cx="10166381" cy="1422867"/>
            <a:chOff x="1728992" y="1729635"/>
            <a:chExt cx="2771000" cy="1591857"/>
          </a:xfrm>
        </p:grpSpPr>
        <p:sp>
          <p:nvSpPr>
            <p:cNvPr id="34" name="TextBox 33">
              <a:extLst>
                <a:ext uri="{FF2B5EF4-FFF2-40B4-BE49-F238E27FC236}">
                  <a16:creationId xmlns:a16="http://schemas.microsoft.com/office/drawing/2014/main" id="{D48E113B-CB6A-40FF-9EA9-E77A3FA0D3FD}"/>
                </a:ext>
              </a:extLst>
            </p:cNvPr>
            <p:cNvSpPr txBox="1"/>
            <p:nvPr/>
          </p:nvSpPr>
          <p:spPr>
            <a:xfrm>
              <a:off x="1728992" y="2099119"/>
              <a:ext cx="2741158" cy="1222373"/>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u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út</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ê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lao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ộ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ữ</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ó</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ă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ự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ro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á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rườ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PTTH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à</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ại</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ọ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ân</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hắ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iệ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ọ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á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gành</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ỹ</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uật</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iện</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xe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EVN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à</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ơi</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à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iệ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ốt</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Phầ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răm</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CBNV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nữ</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rong</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EVN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ăng</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ối</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hiểu</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2</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trước</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năm</a:t>
              </a:r>
              <a:r>
                <a:rPr lang="en-US" sz="2000" dirty="0">
                  <a:solidFill>
                    <a:srgbClr val="4472C4"/>
                  </a:solidFill>
                  <a:latin typeface="Times New Roman" panose="02020603050405020304" pitchFamily="18" charset="0"/>
                  <a:cs typeface="Times New Roman" panose="02020603050405020304" pitchFamily="18" charset="0"/>
                </a:rPr>
                <a:t> 2025 </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hơ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22,7%).</a:t>
              </a:r>
              <a:endPar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35" name="TextBox 34">
              <a:extLst>
                <a:ext uri="{FF2B5EF4-FFF2-40B4-BE49-F238E27FC236}">
                  <a16:creationId xmlns:a16="http://schemas.microsoft.com/office/drawing/2014/main" id="{B9E77E89-3C78-4D11-BA6E-75A9883792F4}"/>
                </a:ext>
              </a:extLst>
            </p:cNvPr>
            <p:cNvSpPr txBox="1"/>
            <p:nvPr/>
          </p:nvSpPr>
          <p:spPr>
            <a:xfrm>
              <a:off x="1758834" y="1729635"/>
              <a:ext cx="2741158" cy="4476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Kết</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quả</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kỳ</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vọng</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a:t>
              </a:r>
            </a:p>
          </p:txBody>
        </p:sp>
      </p:grpSp>
      <p:sp>
        <p:nvSpPr>
          <p:cNvPr id="36" name="Rounded Rectangle 27">
            <a:extLst>
              <a:ext uri="{FF2B5EF4-FFF2-40B4-BE49-F238E27FC236}">
                <a16:creationId xmlns:a16="http://schemas.microsoft.com/office/drawing/2014/main" id="{22CA5150-F8B9-4E0A-945C-AE35E2FF34F8}"/>
              </a:ext>
            </a:extLst>
          </p:cNvPr>
          <p:cNvSpPr/>
          <p:nvPr/>
        </p:nvSpPr>
        <p:spPr>
          <a:xfrm>
            <a:off x="1489445" y="1733058"/>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7" name="Rounded Rectangle 7">
            <a:extLst>
              <a:ext uri="{FF2B5EF4-FFF2-40B4-BE49-F238E27FC236}">
                <a16:creationId xmlns:a16="http://schemas.microsoft.com/office/drawing/2014/main" id="{148A70F5-3693-4CE7-916C-A16C3C08953F}"/>
              </a:ext>
            </a:extLst>
          </p:cNvPr>
          <p:cNvSpPr/>
          <p:nvPr/>
        </p:nvSpPr>
        <p:spPr>
          <a:xfrm>
            <a:off x="1292331" y="4087491"/>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 Same Side Corner Rectangle 36">
            <a:extLst>
              <a:ext uri="{FF2B5EF4-FFF2-40B4-BE49-F238E27FC236}">
                <a16:creationId xmlns:a16="http://schemas.microsoft.com/office/drawing/2014/main" id="{DBF38622-D4BF-4A44-A6E9-F7C66F38723F}"/>
              </a:ext>
            </a:extLst>
          </p:cNvPr>
          <p:cNvSpPr/>
          <p:nvPr/>
        </p:nvSpPr>
        <p:spPr>
          <a:xfrm>
            <a:off x="4063240" y="5420447"/>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9" name="TextBox 38">
            <a:extLst>
              <a:ext uri="{FF2B5EF4-FFF2-40B4-BE49-F238E27FC236}">
                <a16:creationId xmlns:a16="http://schemas.microsoft.com/office/drawing/2014/main" id="{BD6AC7C3-AB4D-4DE0-95CB-1AE22AE7711E}"/>
              </a:ext>
            </a:extLst>
          </p:cNvPr>
          <p:cNvSpPr txBox="1"/>
          <p:nvPr/>
        </p:nvSpPr>
        <p:spPr>
          <a:xfrm>
            <a:off x="1886807" y="992040"/>
            <a:ext cx="8445363" cy="400110"/>
          </a:xfrm>
          <a:prstGeom prst="rect">
            <a:avLst/>
          </a:prstGeom>
          <a:noFill/>
        </p:spPr>
        <p:txBody>
          <a:bodyPr wrap="square">
            <a:spAutoFit/>
          </a:bodyPr>
          <a:lstStyle/>
          <a:p>
            <a:pPr marL="0" lvl="0" indent="0">
              <a:buNone/>
            </a:pPr>
            <a:r>
              <a:rPr lang="en-US" sz="2000" b="1" dirty="0">
                <a:solidFill>
                  <a:srgbClr val="FF0000"/>
                </a:solidFill>
                <a:latin typeface="Times New Roman" panose="02020603050405020304" pitchFamily="18" charset="0"/>
                <a:cs typeface="Times New Roman" panose="02020603050405020304" pitchFamily="18" charset="0"/>
              </a:rPr>
              <a:t>TĂNG CƯỜNG SỰ THAM GIA CỦA LAO ĐỘNG NỮ TRONG EVN</a:t>
            </a:r>
          </a:p>
        </p:txBody>
      </p:sp>
      <p:pic>
        <p:nvPicPr>
          <p:cNvPr id="41" name="Picture 2" descr="D:\backup07102013\o dia D\O D xin\logo EVN.jpg">
            <a:extLst>
              <a:ext uri="{FF2B5EF4-FFF2-40B4-BE49-F238E27FC236}">
                <a16:creationId xmlns:a16="http://schemas.microsoft.com/office/drawing/2014/main" id="{AE4D6FAE-0A8F-45B5-B9D3-D803A3FDB33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Preview Img">
            <a:extLst>
              <a:ext uri="{FF2B5EF4-FFF2-40B4-BE49-F238E27FC236}">
                <a16:creationId xmlns:a16="http://schemas.microsoft.com/office/drawing/2014/main" id="{B959BABF-2CF2-48C2-BC93-0BAF39BDC86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4293207"/>
            <a:ext cx="3896975" cy="2438393"/>
          </a:xfrm>
          <a:prstGeom prst="rect">
            <a:avLst/>
          </a:prstGeom>
          <a:noFill/>
          <a:extLst>
            <a:ext uri="{909E8E84-426E-40DD-AFC4-6F175D3DCCD1}">
              <a14:hiddenFill xmlns:a14="http://schemas.microsoft.com/office/drawing/2010/main">
                <a:solidFill>
                  <a:srgbClr val="FFFFFF"/>
                </a:solidFill>
              </a14:hiddenFill>
            </a:ext>
          </a:extLst>
        </p:spPr>
      </p:pic>
      <p:sp>
        <p:nvSpPr>
          <p:cNvPr id="40" name="Round Same Side Corner Rectangle 36">
            <a:extLst>
              <a:ext uri="{FF2B5EF4-FFF2-40B4-BE49-F238E27FC236}">
                <a16:creationId xmlns:a16="http://schemas.microsoft.com/office/drawing/2014/main" id="{25E34A3D-9615-416A-9F8E-0B09BFE7B32F}"/>
              </a:ext>
            </a:extLst>
          </p:cNvPr>
          <p:cNvSpPr/>
          <p:nvPr/>
        </p:nvSpPr>
        <p:spPr>
          <a:xfrm>
            <a:off x="3335874" y="3279920"/>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Tree>
    <p:extLst>
      <p:ext uri="{BB962C8B-B14F-4D97-AF65-F5344CB8AC3E}">
        <p14:creationId xmlns:p14="http://schemas.microsoft.com/office/powerpoint/2010/main" val="36468744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41300E82-7321-462F-9614-BB87E7ECB642}"/>
              </a:ext>
            </a:extLst>
          </p:cNvPr>
          <p:cNvSpPr/>
          <p:nvPr/>
        </p:nvSpPr>
        <p:spPr>
          <a:xfrm>
            <a:off x="0" y="134905"/>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CÁC HOẠT ĐỘNG ƯU TIÊN</a:t>
            </a:r>
          </a:p>
        </p:txBody>
      </p:sp>
      <p:grpSp>
        <p:nvGrpSpPr>
          <p:cNvPr id="69" name="Group 68">
            <a:extLst>
              <a:ext uri="{FF2B5EF4-FFF2-40B4-BE49-F238E27FC236}">
                <a16:creationId xmlns:a16="http://schemas.microsoft.com/office/drawing/2014/main" id="{E59D2EB6-DDAB-4FE7-A17D-B93A5827AEAF}"/>
              </a:ext>
            </a:extLst>
          </p:cNvPr>
          <p:cNvGrpSpPr/>
          <p:nvPr/>
        </p:nvGrpSpPr>
        <p:grpSpPr>
          <a:xfrm>
            <a:off x="5422632" y="799415"/>
            <a:ext cx="1369406" cy="36576"/>
            <a:chOff x="1775295" y="2020905"/>
            <a:chExt cx="3631535" cy="45719"/>
          </a:xfrm>
        </p:grpSpPr>
        <p:sp>
          <p:nvSpPr>
            <p:cNvPr id="70" name="Rectangle 69">
              <a:extLst>
                <a:ext uri="{FF2B5EF4-FFF2-40B4-BE49-F238E27FC236}">
                  <a16:creationId xmlns:a16="http://schemas.microsoft.com/office/drawing/2014/main" id="{6751DDCD-C37E-40C4-87DE-CE1A21BE131A}"/>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71" name="Rectangle 70">
              <a:extLst>
                <a:ext uri="{FF2B5EF4-FFF2-40B4-BE49-F238E27FC236}">
                  <a16:creationId xmlns:a16="http://schemas.microsoft.com/office/drawing/2014/main" id="{34EF7B1A-18F0-402B-8CC6-38081B5681E9}"/>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72" name="Rectangle 71">
              <a:extLst>
                <a:ext uri="{FF2B5EF4-FFF2-40B4-BE49-F238E27FC236}">
                  <a16:creationId xmlns:a16="http://schemas.microsoft.com/office/drawing/2014/main" id="{4497FB3B-1BE9-46AA-9E60-047D11D74082}"/>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73" name="Rectangle 72">
              <a:extLst>
                <a:ext uri="{FF2B5EF4-FFF2-40B4-BE49-F238E27FC236}">
                  <a16:creationId xmlns:a16="http://schemas.microsoft.com/office/drawing/2014/main" id="{BE04FF85-245D-4A8F-AB29-C01EBB9FE316}"/>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74" name="Rectangle 73">
              <a:extLst>
                <a:ext uri="{FF2B5EF4-FFF2-40B4-BE49-F238E27FC236}">
                  <a16:creationId xmlns:a16="http://schemas.microsoft.com/office/drawing/2014/main" id="{4C2C2F71-D444-461B-AB27-FB1359E24DE3}"/>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75" name="Rectangle 74">
              <a:extLst>
                <a:ext uri="{FF2B5EF4-FFF2-40B4-BE49-F238E27FC236}">
                  <a16:creationId xmlns:a16="http://schemas.microsoft.com/office/drawing/2014/main" id="{A217960E-54F1-44A4-B13B-171F319521B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grpSp>
        <p:nvGrpSpPr>
          <p:cNvPr id="82" name="Group 81">
            <a:extLst>
              <a:ext uri="{FF2B5EF4-FFF2-40B4-BE49-F238E27FC236}">
                <a16:creationId xmlns:a16="http://schemas.microsoft.com/office/drawing/2014/main" id="{DA59715D-389D-48A9-B9FF-3A20030DBC90}"/>
              </a:ext>
            </a:extLst>
          </p:cNvPr>
          <p:cNvGrpSpPr/>
          <p:nvPr/>
        </p:nvGrpSpPr>
        <p:grpSpPr>
          <a:xfrm>
            <a:off x="10832269" y="134905"/>
            <a:ext cx="762976" cy="2449850"/>
            <a:chOff x="1591607" y="-20084"/>
            <a:chExt cx="762976" cy="2449850"/>
          </a:xfrm>
        </p:grpSpPr>
        <p:sp>
          <p:nvSpPr>
            <p:cNvPr id="83" name="Rectangle 82">
              <a:extLst>
                <a:ext uri="{FF2B5EF4-FFF2-40B4-BE49-F238E27FC236}">
                  <a16:creationId xmlns:a16="http://schemas.microsoft.com/office/drawing/2014/main" id="{2C7B5401-9E75-4263-8870-C064F3B529CA}"/>
                </a:ext>
              </a:extLst>
            </p:cNvPr>
            <p:cNvSpPr/>
            <p:nvPr/>
          </p:nvSpPr>
          <p:spPr>
            <a:xfrm>
              <a:off x="1936171" y="-20084"/>
              <a:ext cx="72000" cy="11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p:txBody>
        </p:sp>
        <p:sp>
          <p:nvSpPr>
            <p:cNvPr id="84" name="Freeform: Shape 83">
              <a:extLst>
                <a:ext uri="{FF2B5EF4-FFF2-40B4-BE49-F238E27FC236}">
                  <a16:creationId xmlns:a16="http://schemas.microsoft.com/office/drawing/2014/main" id="{FED19597-AC49-4817-AA1A-63FD01C8E1EE}"/>
                </a:ext>
              </a:extLst>
            </p:cNvPr>
            <p:cNvSpPr/>
            <p:nvPr/>
          </p:nvSpPr>
          <p:spPr>
            <a:xfrm rot="5400000" flipH="1">
              <a:off x="1344272" y="1419455"/>
              <a:ext cx="1257646" cy="762976"/>
            </a:xfrm>
            <a:custGeom>
              <a:avLst/>
              <a:gdLst>
                <a:gd name="connsiteX0" fmla="*/ 782320 w 1075004"/>
                <a:gd name="connsiteY0" fmla="*/ 253919 h 652173"/>
                <a:gd name="connsiteX1" fmla="*/ 763875 w 1075004"/>
                <a:gd name="connsiteY1" fmla="*/ 269396 h 652173"/>
                <a:gd name="connsiteX2" fmla="*/ 421371 w 1075004"/>
                <a:gd name="connsiteY2" fmla="*/ 239431 h 652173"/>
                <a:gd name="connsiteX3" fmla="*/ 421370 w 1075004"/>
                <a:gd name="connsiteY3" fmla="*/ 253854 h 652173"/>
                <a:gd name="connsiteX4" fmla="*/ 447078 w 1075004"/>
                <a:gd name="connsiteY4" fmla="*/ 253854 h 652173"/>
                <a:gd name="connsiteX5" fmla="*/ 464104 w 1075004"/>
                <a:gd name="connsiteY5" fmla="*/ 270880 h 652173"/>
                <a:gd name="connsiteX6" fmla="*/ 464104 w 1075004"/>
                <a:gd name="connsiteY6" fmla="*/ 270879 h 652173"/>
                <a:gd name="connsiteX7" fmla="*/ 447078 w 1075004"/>
                <a:gd name="connsiteY7" fmla="*/ 287905 h 652173"/>
                <a:gd name="connsiteX8" fmla="*/ 421371 w 1075004"/>
                <a:gd name="connsiteY8" fmla="*/ 287905 h 652173"/>
                <a:gd name="connsiteX9" fmla="*/ 421371 w 1075004"/>
                <a:gd name="connsiteY9" fmla="*/ 311227 h 652173"/>
                <a:gd name="connsiteX10" fmla="*/ 447078 w 1075004"/>
                <a:gd name="connsiteY10" fmla="*/ 311227 h 652173"/>
                <a:gd name="connsiteX11" fmla="*/ 464104 w 1075004"/>
                <a:gd name="connsiteY11" fmla="*/ 328253 h 652173"/>
                <a:gd name="connsiteX12" fmla="*/ 464104 w 1075004"/>
                <a:gd name="connsiteY12" fmla="*/ 328253 h 652173"/>
                <a:gd name="connsiteX13" fmla="*/ 447078 w 1075004"/>
                <a:gd name="connsiteY13" fmla="*/ 345278 h 652173"/>
                <a:gd name="connsiteX14" fmla="*/ 421371 w 1075004"/>
                <a:gd name="connsiteY14" fmla="*/ 345279 h 652173"/>
                <a:gd name="connsiteX15" fmla="*/ 421371 w 1075004"/>
                <a:gd name="connsiteY15" fmla="*/ 368601 h 652173"/>
                <a:gd name="connsiteX16" fmla="*/ 447078 w 1075004"/>
                <a:gd name="connsiteY16" fmla="*/ 368601 h 652173"/>
                <a:gd name="connsiteX17" fmla="*/ 464104 w 1075004"/>
                <a:gd name="connsiteY17" fmla="*/ 385627 h 652173"/>
                <a:gd name="connsiteX18" fmla="*/ 464104 w 1075004"/>
                <a:gd name="connsiteY18" fmla="*/ 385627 h 652173"/>
                <a:gd name="connsiteX19" fmla="*/ 447079 w 1075004"/>
                <a:gd name="connsiteY19" fmla="*/ 402652 h 652173"/>
                <a:gd name="connsiteX20" fmla="*/ 421371 w 1075004"/>
                <a:gd name="connsiteY20" fmla="*/ 402652 h 652173"/>
                <a:gd name="connsiteX21" fmla="*/ 421370 w 1075004"/>
                <a:gd name="connsiteY21" fmla="*/ 417162 h 652173"/>
                <a:gd name="connsiteX22" fmla="*/ 762267 w 1075004"/>
                <a:gd name="connsiteY22" fmla="*/ 381332 h 652173"/>
                <a:gd name="connsiteX23" fmla="*/ 780979 w 1075004"/>
                <a:gd name="connsiteY23" fmla="*/ 396485 h 652173"/>
                <a:gd name="connsiteX24" fmla="*/ 765828 w 1075004"/>
                <a:gd name="connsiteY24" fmla="*/ 415197 h 652173"/>
                <a:gd name="connsiteX25" fmla="*/ 415893 w 1075004"/>
                <a:gd name="connsiteY25" fmla="*/ 451977 h 652173"/>
                <a:gd name="connsiteX26" fmla="*/ 397181 w 1075004"/>
                <a:gd name="connsiteY26" fmla="*/ 436824 h 652173"/>
                <a:gd name="connsiteX27" fmla="*/ 398889 w 1075004"/>
                <a:gd name="connsiteY27" fmla="*/ 431060 h 652173"/>
                <a:gd name="connsiteX28" fmla="*/ 398669 w 1075004"/>
                <a:gd name="connsiteY28" fmla="*/ 430530 h 652173"/>
                <a:gd name="connsiteX29" fmla="*/ 398669 w 1075004"/>
                <a:gd name="connsiteY29" fmla="*/ 402652 h 652173"/>
                <a:gd name="connsiteX30" fmla="*/ 372962 w 1075004"/>
                <a:gd name="connsiteY30" fmla="*/ 402653 h 652173"/>
                <a:gd name="connsiteX31" fmla="*/ 355936 w 1075004"/>
                <a:gd name="connsiteY31" fmla="*/ 385627 h 652173"/>
                <a:gd name="connsiteX32" fmla="*/ 372962 w 1075004"/>
                <a:gd name="connsiteY32" fmla="*/ 368601 h 652173"/>
                <a:gd name="connsiteX33" fmla="*/ 398669 w 1075004"/>
                <a:gd name="connsiteY33" fmla="*/ 368601 h 652173"/>
                <a:gd name="connsiteX34" fmla="*/ 398669 w 1075004"/>
                <a:gd name="connsiteY34" fmla="*/ 345279 h 652173"/>
                <a:gd name="connsiteX35" fmla="*/ 372962 w 1075004"/>
                <a:gd name="connsiteY35" fmla="*/ 345279 h 652173"/>
                <a:gd name="connsiteX36" fmla="*/ 355936 w 1075004"/>
                <a:gd name="connsiteY36" fmla="*/ 328253 h 652173"/>
                <a:gd name="connsiteX37" fmla="*/ 372962 w 1075004"/>
                <a:gd name="connsiteY37" fmla="*/ 311228 h 652173"/>
                <a:gd name="connsiteX38" fmla="*/ 398669 w 1075004"/>
                <a:gd name="connsiteY38" fmla="*/ 311227 h 652173"/>
                <a:gd name="connsiteX39" fmla="*/ 398669 w 1075004"/>
                <a:gd name="connsiteY39" fmla="*/ 287905 h 652173"/>
                <a:gd name="connsiteX40" fmla="*/ 372962 w 1075004"/>
                <a:gd name="connsiteY40" fmla="*/ 287905 h 652173"/>
                <a:gd name="connsiteX41" fmla="*/ 355936 w 1075004"/>
                <a:gd name="connsiteY41" fmla="*/ 270880 h 652173"/>
                <a:gd name="connsiteX42" fmla="*/ 372962 w 1075004"/>
                <a:gd name="connsiteY42" fmla="*/ 253854 h 652173"/>
                <a:gd name="connsiteX43" fmla="*/ 398669 w 1075004"/>
                <a:gd name="connsiteY43" fmla="*/ 253854 h 652173"/>
                <a:gd name="connsiteX44" fmla="*/ 398669 w 1075004"/>
                <a:gd name="connsiteY44" fmla="*/ 226224 h 652173"/>
                <a:gd name="connsiteX45" fmla="*/ 399282 w 1075004"/>
                <a:gd name="connsiteY45" fmla="*/ 224745 h 652173"/>
                <a:gd name="connsiteX46" fmla="*/ 397875 w 1075004"/>
                <a:gd name="connsiteY46" fmla="*/ 220285 h 652173"/>
                <a:gd name="connsiteX47" fmla="*/ 416320 w 1075004"/>
                <a:gd name="connsiteY47" fmla="*/ 204807 h 652173"/>
                <a:gd name="connsiteX48" fmla="*/ 766843 w 1075004"/>
                <a:gd name="connsiteY48" fmla="*/ 235474 h 652173"/>
                <a:gd name="connsiteX49" fmla="*/ 782320 w 1075004"/>
                <a:gd name="connsiteY49" fmla="*/ 253919 h 652173"/>
                <a:gd name="connsiteX50" fmla="*/ 787242 w 1075004"/>
                <a:gd name="connsiteY50" fmla="*/ 326087 h 652173"/>
                <a:gd name="connsiteX51" fmla="*/ 785600 w 1075004"/>
                <a:gd name="connsiteY51" fmla="*/ 324445 h 652173"/>
                <a:gd name="connsiteX52" fmla="*/ 785600 w 1075004"/>
                <a:gd name="connsiteY52" fmla="*/ 237207 h 652173"/>
                <a:gd name="connsiteX53" fmla="*/ 722115 w 1075004"/>
                <a:gd name="connsiteY53" fmla="*/ 173722 h 652173"/>
                <a:gd name="connsiteX54" fmla="*/ 634876 w 1075004"/>
                <a:gd name="connsiteY54" fmla="*/ 173722 h 652173"/>
                <a:gd name="connsiteX55" fmla="*/ 556664 w 1075004"/>
                <a:gd name="connsiteY55" fmla="*/ 95509 h 652173"/>
                <a:gd name="connsiteX56" fmla="*/ 95508 w 1075004"/>
                <a:gd name="connsiteY56" fmla="*/ 95509 h 652173"/>
                <a:gd name="connsiteX57" fmla="*/ 0 w 1075004"/>
                <a:gd name="connsiteY57" fmla="*/ 326087 h 652173"/>
                <a:gd name="connsiteX58" fmla="*/ 95508 w 1075004"/>
                <a:gd name="connsiteY58" fmla="*/ 556665 h 652173"/>
                <a:gd name="connsiteX59" fmla="*/ 556664 w 1075004"/>
                <a:gd name="connsiteY59" fmla="*/ 556665 h 652173"/>
                <a:gd name="connsiteX60" fmla="*/ 634877 w 1075004"/>
                <a:gd name="connsiteY60" fmla="*/ 478452 h 652173"/>
                <a:gd name="connsiteX61" fmla="*/ 722116 w 1075004"/>
                <a:gd name="connsiteY61" fmla="*/ 478453 h 652173"/>
                <a:gd name="connsiteX62" fmla="*/ 785600 w 1075004"/>
                <a:gd name="connsiteY62" fmla="*/ 414968 h 652173"/>
                <a:gd name="connsiteX63" fmla="*/ 785600 w 1075004"/>
                <a:gd name="connsiteY63" fmla="*/ 327729 h 652173"/>
                <a:gd name="connsiteX64" fmla="*/ 893383 w 1075004"/>
                <a:gd name="connsiteY64" fmla="*/ 437430 h 652173"/>
                <a:gd name="connsiteX65" fmla="*/ 893383 w 1075004"/>
                <a:gd name="connsiteY65" fmla="*/ 214743 h 652173"/>
                <a:gd name="connsiteX66" fmla="*/ 864082 w 1075004"/>
                <a:gd name="connsiteY66" fmla="*/ 185442 h 652173"/>
                <a:gd name="connsiteX67" fmla="*/ 834781 w 1075004"/>
                <a:gd name="connsiteY67" fmla="*/ 214743 h 652173"/>
                <a:gd name="connsiteX68" fmla="*/ 834781 w 1075004"/>
                <a:gd name="connsiteY68" fmla="*/ 437431 h 652173"/>
                <a:gd name="connsiteX69" fmla="*/ 864082 w 1075004"/>
                <a:gd name="connsiteY69" fmla="*/ 466732 h 652173"/>
                <a:gd name="connsiteX70" fmla="*/ 864082 w 1075004"/>
                <a:gd name="connsiteY70" fmla="*/ 466731 h 652173"/>
                <a:gd name="connsiteX71" fmla="*/ 893383 w 1075004"/>
                <a:gd name="connsiteY71" fmla="*/ 437430 h 652173"/>
                <a:gd name="connsiteX72" fmla="*/ 984194 w 1075004"/>
                <a:gd name="connsiteY72" fmla="*/ 425710 h 652173"/>
                <a:gd name="connsiteX73" fmla="*/ 984193 w 1075004"/>
                <a:gd name="connsiteY73" fmla="*/ 226463 h 652173"/>
                <a:gd name="connsiteX74" fmla="*/ 954892 w 1075004"/>
                <a:gd name="connsiteY74" fmla="*/ 197162 h 652173"/>
                <a:gd name="connsiteX75" fmla="*/ 925591 w 1075004"/>
                <a:gd name="connsiteY75" fmla="*/ 226463 h 652173"/>
                <a:gd name="connsiteX76" fmla="*/ 925591 w 1075004"/>
                <a:gd name="connsiteY76" fmla="*/ 425710 h 652173"/>
                <a:gd name="connsiteX77" fmla="*/ 954892 w 1075004"/>
                <a:gd name="connsiteY77" fmla="*/ 455011 h 652173"/>
                <a:gd name="connsiteX78" fmla="*/ 954892 w 1075004"/>
                <a:gd name="connsiteY78" fmla="*/ 455011 h 652173"/>
                <a:gd name="connsiteX79" fmla="*/ 984194 w 1075004"/>
                <a:gd name="connsiteY79" fmla="*/ 425710 h 652173"/>
                <a:gd name="connsiteX80" fmla="*/ 1075004 w 1075004"/>
                <a:gd name="connsiteY80" fmla="*/ 402268 h 652173"/>
                <a:gd name="connsiteX81" fmla="*/ 1075003 w 1075004"/>
                <a:gd name="connsiteY81" fmla="*/ 249904 h 652173"/>
                <a:gd name="connsiteX82" fmla="*/ 1045703 w 1075004"/>
                <a:gd name="connsiteY82" fmla="*/ 220603 h 652173"/>
                <a:gd name="connsiteX83" fmla="*/ 1016401 w 1075004"/>
                <a:gd name="connsiteY83" fmla="*/ 249904 h 652173"/>
                <a:gd name="connsiteX84" fmla="*/ 1016402 w 1075004"/>
                <a:gd name="connsiteY84" fmla="*/ 402269 h 652173"/>
                <a:gd name="connsiteX85" fmla="*/ 1045703 w 1075004"/>
                <a:gd name="connsiteY85" fmla="*/ 431570 h 652173"/>
                <a:gd name="connsiteX86" fmla="*/ 1045703 w 1075004"/>
                <a:gd name="connsiteY86" fmla="*/ 431570 h 652173"/>
                <a:gd name="connsiteX87" fmla="*/ 1075004 w 1075004"/>
                <a:gd name="connsiteY87" fmla="*/ 402268 h 65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75004" h="652173">
                  <a:moveTo>
                    <a:pt x="782320" y="253919"/>
                  </a:moveTo>
                  <a:cubicBezTo>
                    <a:pt x="781500" y="263286"/>
                    <a:pt x="773242" y="270215"/>
                    <a:pt x="763875" y="269396"/>
                  </a:cubicBezTo>
                  <a:cubicBezTo>
                    <a:pt x="649707" y="259408"/>
                    <a:pt x="535539" y="249420"/>
                    <a:pt x="421371" y="239431"/>
                  </a:cubicBezTo>
                  <a:lnTo>
                    <a:pt x="421370" y="253854"/>
                  </a:lnTo>
                  <a:lnTo>
                    <a:pt x="447078" y="253854"/>
                  </a:lnTo>
                  <a:cubicBezTo>
                    <a:pt x="456482" y="253853"/>
                    <a:pt x="464103" y="261476"/>
                    <a:pt x="464104" y="270880"/>
                  </a:cubicBezTo>
                  <a:lnTo>
                    <a:pt x="464104" y="270879"/>
                  </a:lnTo>
                  <a:cubicBezTo>
                    <a:pt x="464104" y="280282"/>
                    <a:pt x="456482" y="287905"/>
                    <a:pt x="447078" y="287905"/>
                  </a:cubicBezTo>
                  <a:cubicBezTo>
                    <a:pt x="438509" y="287905"/>
                    <a:pt x="429939" y="287904"/>
                    <a:pt x="421371" y="287905"/>
                  </a:cubicBezTo>
                  <a:lnTo>
                    <a:pt x="421371" y="311227"/>
                  </a:lnTo>
                  <a:lnTo>
                    <a:pt x="447078" y="311227"/>
                  </a:lnTo>
                  <a:cubicBezTo>
                    <a:pt x="456482" y="311227"/>
                    <a:pt x="464104" y="318850"/>
                    <a:pt x="464104" y="328253"/>
                  </a:cubicBezTo>
                  <a:lnTo>
                    <a:pt x="464104" y="328253"/>
                  </a:lnTo>
                  <a:cubicBezTo>
                    <a:pt x="464104" y="337655"/>
                    <a:pt x="456482" y="345278"/>
                    <a:pt x="447078" y="345278"/>
                  </a:cubicBezTo>
                  <a:cubicBezTo>
                    <a:pt x="438510" y="345278"/>
                    <a:pt x="429939" y="345278"/>
                    <a:pt x="421371" y="345279"/>
                  </a:cubicBezTo>
                  <a:lnTo>
                    <a:pt x="421371" y="368601"/>
                  </a:lnTo>
                  <a:lnTo>
                    <a:pt x="447078" y="368601"/>
                  </a:lnTo>
                  <a:cubicBezTo>
                    <a:pt x="456482" y="368601"/>
                    <a:pt x="464104" y="376223"/>
                    <a:pt x="464104" y="385627"/>
                  </a:cubicBezTo>
                  <a:lnTo>
                    <a:pt x="464104" y="385627"/>
                  </a:lnTo>
                  <a:cubicBezTo>
                    <a:pt x="464104" y="395030"/>
                    <a:pt x="456481" y="402652"/>
                    <a:pt x="447079" y="402652"/>
                  </a:cubicBezTo>
                  <a:cubicBezTo>
                    <a:pt x="438509" y="402652"/>
                    <a:pt x="429940" y="402652"/>
                    <a:pt x="421371" y="402652"/>
                  </a:cubicBezTo>
                  <a:lnTo>
                    <a:pt x="421370" y="417162"/>
                  </a:lnTo>
                  <a:lnTo>
                    <a:pt x="762267" y="381332"/>
                  </a:lnTo>
                  <a:cubicBezTo>
                    <a:pt x="771619" y="380350"/>
                    <a:pt x="779997" y="387134"/>
                    <a:pt x="780979" y="396485"/>
                  </a:cubicBezTo>
                  <a:cubicBezTo>
                    <a:pt x="781963" y="405837"/>
                    <a:pt x="775179" y="414214"/>
                    <a:pt x="765828" y="415197"/>
                  </a:cubicBezTo>
                  <a:cubicBezTo>
                    <a:pt x="649182" y="427457"/>
                    <a:pt x="532538" y="439718"/>
                    <a:pt x="415893" y="451977"/>
                  </a:cubicBezTo>
                  <a:cubicBezTo>
                    <a:pt x="406541" y="452960"/>
                    <a:pt x="398164" y="446176"/>
                    <a:pt x="397181" y="436824"/>
                  </a:cubicBezTo>
                  <a:cubicBezTo>
                    <a:pt x="396959" y="434720"/>
                    <a:pt x="397132" y="432665"/>
                    <a:pt x="398889" y="431060"/>
                  </a:cubicBezTo>
                  <a:lnTo>
                    <a:pt x="398669" y="430530"/>
                  </a:lnTo>
                  <a:lnTo>
                    <a:pt x="398669" y="402652"/>
                  </a:lnTo>
                  <a:lnTo>
                    <a:pt x="372962" y="402653"/>
                  </a:lnTo>
                  <a:cubicBezTo>
                    <a:pt x="363559" y="402653"/>
                    <a:pt x="355936" y="395031"/>
                    <a:pt x="355936" y="385627"/>
                  </a:cubicBezTo>
                  <a:cubicBezTo>
                    <a:pt x="355936" y="376224"/>
                    <a:pt x="363558" y="368601"/>
                    <a:pt x="372962" y="368601"/>
                  </a:cubicBezTo>
                  <a:lnTo>
                    <a:pt x="398669" y="368601"/>
                  </a:lnTo>
                  <a:lnTo>
                    <a:pt x="398669" y="345279"/>
                  </a:lnTo>
                  <a:lnTo>
                    <a:pt x="372962" y="345279"/>
                  </a:lnTo>
                  <a:cubicBezTo>
                    <a:pt x="363559" y="345278"/>
                    <a:pt x="355937" y="337656"/>
                    <a:pt x="355936" y="328253"/>
                  </a:cubicBezTo>
                  <a:cubicBezTo>
                    <a:pt x="355937" y="318850"/>
                    <a:pt x="363559" y="311227"/>
                    <a:pt x="372962" y="311228"/>
                  </a:cubicBezTo>
                  <a:lnTo>
                    <a:pt x="398669" y="311227"/>
                  </a:lnTo>
                  <a:lnTo>
                    <a:pt x="398669" y="287905"/>
                  </a:lnTo>
                  <a:lnTo>
                    <a:pt x="372962" y="287905"/>
                  </a:lnTo>
                  <a:cubicBezTo>
                    <a:pt x="363559" y="287905"/>
                    <a:pt x="355936" y="280283"/>
                    <a:pt x="355936" y="270880"/>
                  </a:cubicBezTo>
                  <a:cubicBezTo>
                    <a:pt x="355936" y="261476"/>
                    <a:pt x="363559" y="253854"/>
                    <a:pt x="372962" y="253854"/>
                  </a:cubicBezTo>
                  <a:lnTo>
                    <a:pt x="398669" y="253854"/>
                  </a:lnTo>
                  <a:lnTo>
                    <a:pt x="398669" y="226224"/>
                  </a:lnTo>
                  <a:cubicBezTo>
                    <a:pt x="398669" y="225699"/>
                    <a:pt x="398705" y="225182"/>
                    <a:pt x="399282" y="224745"/>
                  </a:cubicBezTo>
                  <a:lnTo>
                    <a:pt x="397875" y="220285"/>
                  </a:lnTo>
                  <a:cubicBezTo>
                    <a:pt x="398695" y="210917"/>
                    <a:pt x="406953" y="203988"/>
                    <a:pt x="416320" y="204807"/>
                  </a:cubicBezTo>
                  <a:lnTo>
                    <a:pt x="766843" y="235474"/>
                  </a:lnTo>
                  <a:cubicBezTo>
                    <a:pt x="776210" y="236294"/>
                    <a:pt x="783139" y="244551"/>
                    <a:pt x="782320" y="253919"/>
                  </a:cubicBezTo>
                  <a:close/>
                  <a:moveTo>
                    <a:pt x="787242" y="326087"/>
                  </a:moveTo>
                  <a:lnTo>
                    <a:pt x="785600" y="324445"/>
                  </a:lnTo>
                  <a:lnTo>
                    <a:pt x="785600" y="237207"/>
                  </a:lnTo>
                  <a:cubicBezTo>
                    <a:pt x="785600" y="202145"/>
                    <a:pt x="757177" y="173722"/>
                    <a:pt x="722115" y="173722"/>
                  </a:cubicBezTo>
                  <a:lnTo>
                    <a:pt x="634876" y="173722"/>
                  </a:lnTo>
                  <a:cubicBezTo>
                    <a:pt x="608805" y="147651"/>
                    <a:pt x="582735" y="121579"/>
                    <a:pt x="556664" y="95509"/>
                  </a:cubicBezTo>
                  <a:cubicBezTo>
                    <a:pt x="429319" y="-31836"/>
                    <a:pt x="222853" y="-31836"/>
                    <a:pt x="95508" y="95509"/>
                  </a:cubicBezTo>
                  <a:cubicBezTo>
                    <a:pt x="31836" y="159181"/>
                    <a:pt x="0" y="242634"/>
                    <a:pt x="0" y="326087"/>
                  </a:cubicBezTo>
                  <a:cubicBezTo>
                    <a:pt x="0" y="409540"/>
                    <a:pt x="31836" y="492992"/>
                    <a:pt x="95508" y="556665"/>
                  </a:cubicBezTo>
                  <a:cubicBezTo>
                    <a:pt x="222853" y="684010"/>
                    <a:pt x="429320" y="684010"/>
                    <a:pt x="556664" y="556665"/>
                  </a:cubicBezTo>
                  <a:lnTo>
                    <a:pt x="634877" y="478452"/>
                  </a:lnTo>
                  <a:lnTo>
                    <a:pt x="722116" y="478453"/>
                  </a:lnTo>
                  <a:cubicBezTo>
                    <a:pt x="757178" y="478452"/>
                    <a:pt x="785600" y="450029"/>
                    <a:pt x="785600" y="414968"/>
                  </a:cubicBezTo>
                  <a:lnTo>
                    <a:pt x="785600" y="327729"/>
                  </a:lnTo>
                  <a:close/>
                  <a:moveTo>
                    <a:pt x="893383" y="437430"/>
                  </a:moveTo>
                  <a:lnTo>
                    <a:pt x="893383" y="214743"/>
                  </a:lnTo>
                  <a:cubicBezTo>
                    <a:pt x="893383" y="198561"/>
                    <a:pt x="880265" y="185442"/>
                    <a:pt x="864082" y="185442"/>
                  </a:cubicBezTo>
                  <a:cubicBezTo>
                    <a:pt x="847899" y="185442"/>
                    <a:pt x="834781" y="198561"/>
                    <a:pt x="834781" y="214743"/>
                  </a:cubicBezTo>
                  <a:lnTo>
                    <a:pt x="834781" y="437431"/>
                  </a:lnTo>
                  <a:cubicBezTo>
                    <a:pt x="834781" y="453613"/>
                    <a:pt x="847900" y="466732"/>
                    <a:pt x="864082" y="466732"/>
                  </a:cubicBezTo>
                  <a:lnTo>
                    <a:pt x="864082" y="466731"/>
                  </a:lnTo>
                  <a:cubicBezTo>
                    <a:pt x="880265" y="466731"/>
                    <a:pt x="893383" y="453613"/>
                    <a:pt x="893383" y="437430"/>
                  </a:cubicBezTo>
                  <a:close/>
                  <a:moveTo>
                    <a:pt x="984194" y="425710"/>
                  </a:moveTo>
                  <a:lnTo>
                    <a:pt x="984193" y="226463"/>
                  </a:lnTo>
                  <a:cubicBezTo>
                    <a:pt x="984193" y="210281"/>
                    <a:pt x="971075" y="197163"/>
                    <a:pt x="954892" y="197162"/>
                  </a:cubicBezTo>
                  <a:cubicBezTo>
                    <a:pt x="938710" y="197163"/>
                    <a:pt x="925591" y="210281"/>
                    <a:pt x="925591" y="226463"/>
                  </a:cubicBezTo>
                  <a:lnTo>
                    <a:pt x="925591" y="425710"/>
                  </a:lnTo>
                  <a:cubicBezTo>
                    <a:pt x="925591" y="441893"/>
                    <a:pt x="938710" y="455011"/>
                    <a:pt x="954892" y="455011"/>
                  </a:cubicBezTo>
                  <a:lnTo>
                    <a:pt x="954892" y="455011"/>
                  </a:lnTo>
                  <a:cubicBezTo>
                    <a:pt x="971075" y="455011"/>
                    <a:pt x="984194" y="441892"/>
                    <a:pt x="984194" y="425710"/>
                  </a:cubicBezTo>
                  <a:close/>
                  <a:moveTo>
                    <a:pt x="1075004" y="402268"/>
                  </a:moveTo>
                  <a:lnTo>
                    <a:pt x="1075003" y="249904"/>
                  </a:lnTo>
                  <a:cubicBezTo>
                    <a:pt x="1075003" y="233721"/>
                    <a:pt x="1061885" y="220603"/>
                    <a:pt x="1045703" y="220603"/>
                  </a:cubicBezTo>
                  <a:cubicBezTo>
                    <a:pt x="1029520" y="220603"/>
                    <a:pt x="1016401" y="233721"/>
                    <a:pt x="1016401" y="249904"/>
                  </a:cubicBezTo>
                  <a:lnTo>
                    <a:pt x="1016402" y="402269"/>
                  </a:lnTo>
                  <a:cubicBezTo>
                    <a:pt x="1016402" y="418451"/>
                    <a:pt x="1029520" y="431570"/>
                    <a:pt x="1045703" y="431570"/>
                  </a:cubicBezTo>
                  <a:lnTo>
                    <a:pt x="1045703" y="431570"/>
                  </a:lnTo>
                  <a:cubicBezTo>
                    <a:pt x="1061885" y="431570"/>
                    <a:pt x="1075004" y="418451"/>
                    <a:pt x="1075004" y="402268"/>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ea typeface="맑은 고딕" panose="020B0503020000020004" pitchFamily="34" charset="-127"/>
                <a:cs typeface="+mn-cs"/>
              </a:endParaRPr>
            </a:p>
          </p:txBody>
        </p:sp>
      </p:grpSp>
      <p:sp>
        <p:nvSpPr>
          <p:cNvPr id="85" name="Rectangle: Rounded Corners 84">
            <a:extLst>
              <a:ext uri="{FF2B5EF4-FFF2-40B4-BE49-F238E27FC236}">
                <a16:creationId xmlns:a16="http://schemas.microsoft.com/office/drawing/2014/main" id="{2100B2F0-0B46-4539-9266-A2D955ED62BD}"/>
              </a:ext>
            </a:extLst>
          </p:cNvPr>
          <p:cNvSpPr/>
          <p:nvPr/>
        </p:nvSpPr>
        <p:spPr>
          <a:xfrm>
            <a:off x="2583649" y="3356706"/>
            <a:ext cx="630776" cy="630776"/>
          </a:xfrm>
          <a:prstGeom prst="round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6" name="Rectangle: Rounded Corners 85">
            <a:extLst>
              <a:ext uri="{FF2B5EF4-FFF2-40B4-BE49-F238E27FC236}">
                <a16:creationId xmlns:a16="http://schemas.microsoft.com/office/drawing/2014/main" id="{69AF2F2E-A139-4C16-8FE8-EEA506E4B333}"/>
              </a:ext>
            </a:extLst>
          </p:cNvPr>
          <p:cNvSpPr/>
          <p:nvPr/>
        </p:nvSpPr>
        <p:spPr>
          <a:xfrm>
            <a:off x="2583473" y="4212084"/>
            <a:ext cx="630776" cy="630776"/>
          </a:xfrm>
          <a:prstGeom prst="roundRect">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7" name="Rectangle: Rounded Corners 86">
            <a:extLst>
              <a:ext uri="{FF2B5EF4-FFF2-40B4-BE49-F238E27FC236}">
                <a16:creationId xmlns:a16="http://schemas.microsoft.com/office/drawing/2014/main" id="{B5CEE303-9DAB-4FEA-B37B-649D7B2FFBCB}"/>
              </a:ext>
            </a:extLst>
          </p:cNvPr>
          <p:cNvSpPr/>
          <p:nvPr/>
        </p:nvSpPr>
        <p:spPr>
          <a:xfrm>
            <a:off x="661676" y="1521602"/>
            <a:ext cx="630776" cy="630776"/>
          </a:xfrm>
          <a:prstGeom prst="round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grpSp>
        <p:nvGrpSpPr>
          <p:cNvPr id="88" name="Group 87">
            <a:extLst>
              <a:ext uri="{FF2B5EF4-FFF2-40B4-BE49-F238E27FC236}">
                <a16:creationId xmlns:a16="http://schemas.microsoft.com/office/drawing/2014/main" id="{145187D5-3525-4C90-9368-5CB995E42F9C}"/>
              </a:ext>
            </a:extLst>
          </p:cNvPr>
          <p:cNvGrpSpPr/>
          <p:nvPr/>
        </p:nvGrpSpPr>
        <p:grpSpPr>
          <a:xfrm>
            <a:off x="3243465" y="3114244"/>
            <a:ext cx="8103408" cy="1148509"/>
            <a:chOff x="1758830" y="1709816"/>
            <a:chExt cx="2741161" cy="1148509"/>
          </a:xfrm>
        </p:grpSpPr>
        <p:sp>
          <p:nvSpPr>
            <p:cNvPr id="89" name="TextBox 88">
              <a:extLst>
                <a:ext uri="{FF2B5EF4-FFF2-40B4-BE49-F238E27FC236}">
                  <a16:creationId xmlns:a16="http://schemas.microsoft.com/office/drawing/2014/main" id="{DE5A40D3-7C94-422B-B19D-C4312776E4AB}"/>
                </a:ext>
              </a:extLst>
            </p:cNvPr>
            <p:cNvSpPr txBox="1"/>
            <p:nvPr/>
          </p:nvSpPr>
          <p:spPr>
            <a:xfrm>
              <a:off x="1758830" y="2073495"/>
              <a:ext cx="2741158" cy="784830"/>
            </a:xfrm>
            <a:prstGeom prst="rect">
              <a:avLst/>
            </a:prstGeom>
            <a:noFill/>
          </p:spPr>
          <p:txBody>
            <a:bodyPr wrap="square" rtlCol="0">
              <a:spAutoFit/>
            </a:bodyPr>
            <a:lstStyle/>
            <a:p>
              <a:pPr marL="342900" indent="-342900" algn="just">
                <a:spcBef>
                  <a:spcPts val="600"/>
                </a:spcBef>
                <a:buFont typeface="Wingdings" panose="05000000000000000000" pitchFamily="2" charset="2"/>
                <a:buChar char="ü"/>
                <a:defRPr/>
              </a:pP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ó</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hêm</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nhiều</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lao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động</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nữ</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ó</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năng</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lực</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và</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trình</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độ</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huyên</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môn</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cao</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 </a:t>
              </a:r>
              <a:r>
                <a:rPr kumimoji="0" lang="en-US" sz="2000" b="0" i="0" u="none" strike="noStrike" kern="0" cap="none" spc="0" normalizeH="0" baseline="0" noProof="0" dirty="0" err="1">
                  <a:ln>
                    <a:noFill/>
                  </a:ln>
                  <a:solidFill>
                    <a:schemeClr val="accent2"/>
                  </a:solidFill>
                  <a:effectLst/>
                  <a:uLnTx/>
                  <a:uFillTx/>
                  <a:latin typeface="Times New Roman" panose="02020603050405020304" pitchFamily="18" charset="0"/>
                  <a:cs typeface="Times New Roman" panose="02020603050405020304" pitchFamily="18" charset="0"/>
                </a:rPr>
                <a:t>hơn</a:t>
              </a:r>
              <a:r>
                <a:rPr kumimoji="0" lang="en-US" sz="20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a:t>
              </a:r>
              <a:endParaRPr kumimoji="0" lang="en-US" altLang="ko-KR" sz="2000" b="0"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kern="0" dirty="0" err="1">
                  <a:solidFill>
                    <a:schemeClr val="accent2"/>
                  </a:solidFill>
                  <a:latin typeface="Times New Roman" panose="02020603050405020304" pitchFamily="18" charset="0"/>
                  <a:cs typeface="Times New Roman" panose="02020603050405020304" pitchFamily="18" charset="0"/>
                </a:rPr>
                <a:t>Cải</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tiến</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và</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đổi</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mới</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sáng</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tạo</a:t>
              </a:r>
              <a:r>
                <a:rPr lang="en-US" altLang="ko-KR" sz="2000" kern="0" dirty="0">
                  <a:solidFill>
                    <a:schemeClr val="accent2"/>
                  </a:solidFill>
                  <a:latin typeface="Times New Roman" panose="02020603050405020304" pitchFamily="18" charset="0"/>
                  <a:cs typeface="Times New Roman" panose="02020603050405020304" pitchFamily="18" charset="0"/>
                </a:rPr>
                <a:t> </a:t>
              </a:r>
              <a:r>
                <a:rPr lang="en-US" altLang="ko-KR" sz="2000" kern="0" dirty="0" err="1">
                  <a:solidFill>
                    <a:schemeClr val="accent2"/>
                  </a:solidFill>
                  <a:latin typeface="Times New Roman" panose="02020603050405020304" pitchFamily="18" charset="0"/>
                  <a:cs typeface="Times New Roman" panose="02020603050405020304" pitchFamily="18" charset="0"/>
                </a:rPr>
                <a:t>trong</a:t>
              </a:r>
              <a:r>
                <a:rPr lang="en-US" altLang="ko-KR" sz="2000" kern="0" dirty="0">
                  <a:solidFill>
                    <a:schemeClr val="accent2"/>
                  </a:solidFill>
                  <a:latin typeface="Times New Roman" panose="02020603050405020304" pitchFamily="18" charset="0"/>
                  <a:cs typeface="Times New Roman" panose="02020603050405020304" pitchFamily="18" charset="0"/>
                </a:rPr>
                <a:t> EVN.</a:t>
              </a:r>
              <a:endParaRPr kumimoji="0" lang="en-US" altLang="ko-KR" sz="2000" b="0"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90" name="TextBox 89">
              <a:extLst>
                <a:ext uri="{FF2B5EF4-FFF2-40B4-BE49-F238E27FC236}">
                  <a16:creationId xmlns:a16="http://schemas.microsoft.com/office/drawing/2014/main" id="{E919B64A-F2EF-4D4F-B110-335E29337214}"/>
                </a:ext>
              </a:extLst>
            </p:cNvPr>
            <p:cNvSpPr txBox="1"/>
            <p:nvPr/>
          </p:nvSpPr>
          <p:spPr>
            <a:xfrm>
              <a:off x="1758833" y="1709816"/>
              <a:ext cx="274115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Lợi</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íc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ủa</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doan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nghiệp</a:t>
              </a:r>
              <a:endParaRPr kumimoji="0" lang="ko-KR" altLang="en-US"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grpSp>
        <p:nvGrpSpPr>
          <p:cNvPr id="91" name="Group 90">
            <a:extLst>
              <a:ext uri="{FF2B5EF4-FFF2-40B4-BE49-F238E27FC236}">
                <a16:creationId xmlns:a16="http://schemas.microsoft.com/office/drawing/2014/main" id="{D9A0A8D4-3BA5-4116-A55B-B0DD983CA159}"/>
              </a:ext>
            </a:extLst>
          </p:cNvPr>
          <p:cNvGrpSpPr/>
          <p:nvPr/>
        </p:nvGrpSpPr>
        <p:grpSpPr>
          <a:xfrm>
            <a:off x="3214248" y="4240085"/>
            <a:ext cx="8798682" cy="2212762"/>
            <a:chOff x="1758833" y="975492"/>
            <a:chExt cx="2741158" cy="2683112"/>
          </a:xfrm>
        </p:grpSpPr>
        <p:sp>
          <p:nvSpPr>
            <p:cNvPr id="92" name="TextBox 91">
              <a:extLst>
                <a:ext uri="{FF2B5EF4-FFF2-40B4-BE49-F238E27FC236}">
                  <a16:creationId xmlns:a16="http://schemas.microsoft.com/office/drawing/2014/main" id="{EB553A30-0FFD-4D5F-B301-B6A70B345500}"/>
                </a:ext>
              </a:extLst>
            </p:cNvPr>
            <p:cNvSpPr txBox="1"/>
            <p:nvPr/>
          </p:nvSpPr>
          <p:spPr>
            <a:xfrm>
              <a:off x="1758833" y="1494054"/>
              <a:ext cx="2741158" cy="2164550"/>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ă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ườ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à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ạ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ự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uyế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E-learning.</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hêm</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ươ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ì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à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ạ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ừ</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VBCWE, USAID, ADF, WB,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ổ</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ứ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quố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ế</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lao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ộ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ề</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bì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ẳ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giớ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lĩ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ự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kỹ</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huật</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quả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lý</a:t>
              </a:r>
              <a:r>
                <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a:t>
              </a:r>
              <a:endPar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ươ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ì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ù</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ợp</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ừ</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í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ủ</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Bộ</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gà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sự</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ả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iế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a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ò</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ủa</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ụ</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ă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iệu</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quả</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ô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iệ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endPar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93" name="TextBox 92">
              <a:extLst>
                <a:ext uri="{FF2B5EF4-FFF2-40B4-BE49-F238E27FC236}">
                  <a16:creationId xmlns:a16="http://schemas.microsoft.com/office/drawing/2014/main" id="{5B58B691-5596-4C19-984E-49CD9E554A19}"/>
                </a:ext>
              </a:extLst>
            </p:cNvPr>
            <p:cNvSpPr txBox="1"/>
            <p:nvPr/>
          </p:nvSpPr>
          <p:spPr>
            <a:xfrm>
              <a:off x="1758833" y="975492"/>
              <a:ext cx="2741158" cy="4851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Sự</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ỗ</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ợ</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ần</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hiết</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a:t>
              </a:r>
            </a:p>
          </p:txBody>
        </p:sp>
      </p:grpSp>
      <p:grpSp>
        <p:nvGrpSpPr>
          <p:cNvPr id="94" name="Group 93">
            <a:extLst>
              <a:ext uri="{FF2B5EF4-FFF2-40B4-BE49-F238E27FC236}">
                <a16:creationId xmlns:a16="http://schemas.microsoft.com/office/drawing/2014/main" id="{33B553D8-0006-4150-9B2D-16783E5720FC}"/>
              </a:ext>
            </a:extLst>
          </p:cNvPr>
          <p:cNvGrpSpPr/>
          <p:nvPr/>
        </p:nvGrpSpPr>
        <p:grpSpPr>
          <a:xfrm>
            <a:off x="1447217" y="1402779"/>
            <a:ext cx="9131744" cy="1834963"/>
            <a:chOff x="1758833" y="1729635"/>
            <a:chExt cx="2741159" cy="2052895"/>
          </a:xfrm>
        </p:grpSpPr>
        <p:sp>
          <p:nvSpPr>
            <p:cNvPr id="95" name="TextBox 94">
              <a:extLst>
                <a:ext uri="{FF2B5EF4-FFF2-40B4-BE49-F238E27FC236}">
                  <a16:creationId xmlns:a16="http://schemas.microsoft.com/office/drawing/2014/main" id="{278E4702-7258-4F02-AE7E-6084703D394E}"/>
                </a:ext>
              </a:extLst>
            </p:cNvPr>
            <p:cNvSpPr txBox="1"/>
            <p:nvPr/>
          </p:nvSpPr>
          <p:spPr>
            <a:xfrm>
              <a:off x="1758833" y="2129745"/>
              <a:ext cx="2741158" cy="1652785"/>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ổ</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ứ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ê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các</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khoá</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đà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ạ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quả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lý</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và</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đà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ạ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chuyê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mô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ch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lao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động</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nữ</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a:t>
              </a:r>
              <a:endPar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ối</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iểu</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20%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ao</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ộ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ữ</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a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gia</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á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khoá</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đà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ạ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quả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lý</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và</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5%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vào</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các</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khoá</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chuyê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môn</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ịch</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àm</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iệ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inh</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oạt</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p>
          </p:txBody>
        </p:sp>
        <p:sp>
          <p:nvSpPr>
            <p:cNvPr id="96" name="TextBox 95">
              <a:extLst>
                <a:ext uri="{FF2B5EF4-FFF2-40B4-BE49-F238E27FC236}">
                  <a16:creationId xmlns:a16="http://schemas.microsoft.com/office/drawing/2014/main" id="{C6B35A1A-92BA-4C28-81D3-BB3FC0321AAA}"/>
                </a:ext>
              </a:extLst>
            </p:cNvPr>
            <p:cNvSpPr txBox="1"/>
            <p:nvPr/>
          </p:nvSpPr>
          <p:spPr>
            <a:xfrm>
              <a:off x="1758834" y="1729635"/>
              <a:ext cx="2741158" cy="4476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Kết</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quả</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kỳ</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vọng</a:t>
              </a:r>
              <a:endPar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sp>
        <p:nvSpPr>
          <p:cNvPr id="97" name="Rounded Rectangle 27">
            <a:extLst>
              <a:ext uri="{FF2B5EF4-FFF2-40B4-BE49-F238E27FC236}">
                <a16:creationId xmlns:a16="http://schemas.microsoft.com/office/drawing/2014/main" id="{CAF54345-58BA-40A3-8111-6B8CBFA327C4}"/>
              </a:ext>
            </a:extLst>
          </p:cNvPr>
          <p:cNvSpPr/>
          <p:nvPr/>
        </p:nvSpPr>
        <p:spPr>
          <a:xfrm>
            <a:off x="829922" y="1715185"/>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98" name="Rounded Rectangle 7">
            <a:extLst>
              <a:ext uri="{FF2B5EF4-FFF2-40B4-BE49-F238E27FC236}">
                <a16:creationId xmlns:a16="http://schemas.microsoft.com/office/drawing/2014/main" id="{E8167C0D-E9D6-4417-8CC3-A5E621932BB5}"/>
              </a:ext>
            </a:extLst>
          </p:cNvPr>
          <p:cNvSpPr/>
          <p:nvPr/>
        </p:nvSpPr>
        <p:spPr>
          <a:xfrm>
            <a:off x="2737819" y="3498675"/>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99" name="Round Same Side Corner Rectangle 36">
            <a:extLst>
              <a:ext uri="{FF2B5EF4-FFF2-40B4-BE49-F238E27FC236}">
                <a16:creationId xmlns:a16="http://schemas.microsoft.com/office/drawing/2014/main" id="{C1D93469-55A0-425E-98A6-9C470457E266}"/>
              </a:ext>
            </a:extLst>
          </p:cNvPr>
          <p:cNvSpPr/>
          <p:nvPr/>
        </p:nvSpPr>
        <p:spPr>
          <a:xfrm>
            <a:off x="2735051" y="4405481"/>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mn-cs"/>
            </a:endParaRPr>
          </a:p>
        </p:txBody>
      </p:sp>
      <p:sp>
        <p:nvSpPr>
          <p:cNvPr id="101" name="TextBox 100">
            <a:extLst>
              <a:ext uri="{FF2B5EF4-FFF2-40B4-BE49-F238E27FC236}">
                <a16:creationId xmlns:a16="http://schemas.microsoft.com/office/drawing/2014/main" id="{795323FF-4DDB-4638-A1CE-F8BB11D8A6FA}"/>
              </a:ext>
            </a:extLst>
          </p:cNvPr>
          <p:cNvSpPr txBox="1"/>
          <p:nvPr/>
        </p:nvSpPr>
        <p:spPr>
          <a:xfrm>
            <a:off x="2001079" y="976171"/>
            <a:ext cx="7586432" cy="400110"/>
          </a:xfrm>
          <a:prstGeom prst="rect">
            <a:avLst/>
          </a:prstGeom>
          <a:noFill/>
        </p:spPr>
        <p:txBody>
          <a:bodyPr wrap="square">
            <a:spAutoFit/>
          </a:bodyPr>
          <a:lstStyle/>
          <a:p>
            <a:pPr marL="0" lvl="0" indent="0">
              <a:buNone/>
            </a:pPr>
            <a:r>
              <a:rPr lang="en-US" sz="2000" b="1" dirty="0">
                <a:solidFill>
                  <a:srgbClr val="FF0000"/>
                </a:solidFill>
                <a:latin typeface="Times New Roman" panose="02020603050405020304" pitchFamily="18" charset="0"/>
                <a:cs typeface="Times New Roman" panose="02020603050405020304" pitchFamily="18" charset="0"/>
              </a:rPr>
              <a:t>NÂNG CAO CHẤT LƯỢNG CỦA LAO ĐỘNG NỮ TRONG EVN</a:t>
            </a:r>
          </a:p>
        </p:txBody>
      </p:sp>
      <p:pic>
        <p:nvPicPr>
          <p:cNvPr id="36" name="Picture 2" descr="D:\backup07102013\o dia D\O D xin\logo EVN.jpg">
            <a:extLst>
              <a:ext uri="{FF2B5EF4-FFF2-40B4-BE49-F238E27FC236}">
                <a16:creationId xmlns:a16="http://schemas.microsoft.com/office/drawing/2014/main" id="{FC507A5E-433F-4F86-B740-29263EE2091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Preview Img">
            <a:extLst>
              <a:ext uri="{FF2B5EF4-FFF2-40B4-BE49-F238E27FC236}">
                <a16:creationId xmlns:a16="http://schemas.microsoft.com/office/drawing/2014/main" id="{FF468E03-85F8-4BAC-B4B4-EA161988E0A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3464384"/>
            <a:ext cx="2440900" cy="3279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7473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C518AC-2842-40B5-B1B3-26649AE30315}"/>
              </a:ext>
            </a:extLst>
          </p:cNvPr>
          <p:cNvSpPr/>
          <p:nvPr/>
        </p:nvSpPr>
        <p:spPr>
          <a:xfrm>
            <a:off x="0" y="252668"/>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CÁC HOẠT ĐỘNG ƯU TIÊN</a:t>
            </a:r>
          </a:p>
        </p:txBody>
      </p:sp>
      <p:grpSp>
        <p:nvGrpSpPr>
          <p:cNvPr id="9" name="Group 8">
            <a:extLst>
              <a:ext uri="{FF2B5EF4-FFF2-40B4-BE49-F238E27FC236}">
                <a16:creationId xmlns:a16="http://schemas.microsoft.com/office/drawing/2014/main" id="{5901D1F2-8268-41CC-AA65-E99483059161}"/>
              </a:ext>
            </a:extLst>
          </p:cNvPr>
          <p:cNvGrpSpPr/>
          <p:nvPr/>
        </p:nvGrpSpPr>
        <p:grpSpPr>
          <a:xfrm>
            <a:off x="5369418" y="834051"/>
            <a:ext cx="1369406" cy="36576"/>
            <a:chOff x="1775295" y="2020905"/>
            <a:chExt cx="3631535" cy="45719"/>
          </a:xfrm>
        </p:grpSpPr>
        <p:sp>
          <p:nvSpPr>
            <p:cNvPr id="10" name="Rectangle 9">
              <a:extLst>
                <a:ext uri="{FF2B5EF4-FFF2-40B4-BE49-F238E27FC236}">
                  <a16:creationId xmlns:a16="http://schemas.microsoft.com/office/drawing/2014/main" id="{25E54AB7-0333-46CC-962B-C58CBFFB7B3F}"/>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3BBADC2D-CBDD-4D63-AF11-E3E220E8DC4B}"/>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8DD4C835-6AA2-47DE-954F-CB399CD808D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553EBEF8-D940-4452-B71D-3AE4F541D154}"/>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944C6C1D-C6F7-4259-8911-BB27A3415C35}"/>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64D9C333-9BA0-47E0-B5DF-8AB778361023}"/>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25" name="Rectangle: Rounded Corners 24">
            <a:extLst>
              <a:ext uri="{FF2B5EF4-FFF2-40B4-BE49-F238E27FC236}">
                <a16:creationId xmlns:a16="http://schemas.microsoft.com/office/drawing/2014/main" id="{EE2FCD54-DC2F-40A6-8E7E-8BF8E1742B92}"/>
              </a:ext>
            </a:extLst>
          </p:cNvPr>
          <p:cNvSpPr/>
          <p:nvPr/>
        </p:nvSpPr>
        <p:spPr>
          <a:xfrm>
            <a:off x="3085919" y="3262990"/>
            <a:ext cx="630776" cy="630776"/>
          </a:xfrm>
          <a:prstGeom prst="round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26" name="Rectangle: Rounded Corners 25">
            <a:extLst>
              <a:ext uri="{FF2B5EF4-FFF2-40B4-BE49-F238E27FC236}">
                <a16:creationId xmlns:a16="http://schemas.microsoft.com/office/drawing/2014/main" id="{765C0EEB-76CB-475F-9A2D-B12C2B1AA6E5}"/>
              </a:ext>
            </a:extLst>
          </p:cNvPr>
          <p:cNvSpPr/>
          <p:nvPr/>
        </p:nvSpPr>
        <p:spPr>
          <a:xfrm>
            <a:off x="3092322" y="4710922"/>
            <a:ext cx="630776" cy="630776"/>
          </a:xfrm>
          <a:prstGeom prst="roundRect">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27" name="Rectangle: Rounded Corners 26">
            <a:extLst>
              <a:ext uri="{FF2B5EF4-FFF2-40B4-BE49-F238E27FC236}">
                <a16:creationId xmlns:a16="http://schemas.microsoft.com/office/drawing/2014/main" id="{5730BA3A-BFB0-408D-A0E1-F4E58282361C}"/>
              </a:ext>
            </a:extLst>
          </p:cNvPr>
          <p:cNvSpPr/>
          <p:nvPr/>
        </p:nvSpPr>
        <p:spPr>
          <a:xfrm>
            <a:off x="3092435" y="1412927"/>
            <a:ext cx="630776" cy="630776"/>
          </a:xfrm>
          <a:prstGeom prst="round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nvGrpSpPr>
          <p:cNvPr id="28" name="Group 27">
            <a:extLst>
              <a:ext uri="{FF2B5EF4-FFF2-40B4-BE49-F238E27FC236}">
                <a16:creationId xmlns:a16="http://schemas.microsoft.com/office/drawing/2014/main" id="{63030920-77BB-4109-A04F-7E9859D53906}"/>
              </a:ext>
            </a:extLst>
          </p:cNvPr>
          <p:cNvGrpSpPr/>
          <p:nvPr/>
        </p:nvGrpSpPr>
        <p:grpSpPr>
          <a:xfrm>
            <a:off x="3870864" y="3056282"/>
            <a:ext cx="7844869" cy="1414962"/>
            <a:chOff x="1758830" y="1709816"/>
            <a:chExt cx="2741161" cy="1396366"/>
          </a:xfrm>
        </p:grpSpPr>
        <p:sp>
          <p:nvSpPr>
            <p:cNvPr id="29" name="TextBox 28">
              <a:extLst>
                <a:ext uri="{FF2B5EF4-FFF2-40B4-BE49-F238E27FC236}">
                  <a16:creationId xmlns:a16="http://schemas.microsoft.com/office/drawing/2014/main" id="{AD8AF0C6-428E-4E02-B82A-079CA32B6C14}"/>
                </a:ext>
              </a:extLst>
            </p:cNvPr>
            <p:cNvSpPr txBox="1"/>
            <p:nvPr/>
          </p:nvSpPr>
          <p:spPr>
            <a:xfrm>
              <a:off x="1758830" y="2073495"/>
              <a:ext cx="2741158" cy="1032687"/>
            </a:xfrm>
            <a:prstGeom prst="rect">
              <a:avLst/>
            </a:prstGeom>
            <a:noFill/>
          </p:spPr>
          <p:txBody>
            <a:bodyPr wrap="square" rtlCol="0">
              <a:spAutoFit/>
            </a:bodyPr>
            <a:lstStyle/>
            <a:p>
              <a:pPr marL="342900" indent="-342900" algn="just">
                <a:spcBef>
                  <a:spcPts val="600"/>
                </a:spcBef>
                <a:buFont typeface="Wingdings" panose="05000000000000000000" pitchFamily="2" charset="2"/>
                <a:buChar char="ü"/>
                <a:defRPr/>
              </a:pPr>
              <a:r>
                <a:rPr lang="en-US" sz="1900" kern="0" dirty="0" err="1">
                  <a:solidFill>
                    <a:schemeClr val="accent2"/>
                  </a:solidFill>
                  <a:latin typeface="Times New Roman" panose="02020603050405020304" pitchFamily="18" charset="0"/>
                  <a:cs typeface="Times New Roman" panose="02020603050405020304" pitchFamily="18" charset="0"/>
                </a:rPr>
                <a:t>Đưa</a:t>
              </a:r>
              <a:r>
                <a:rPr lang="en-US" sz="1900" kern="0" dirty="0">
                  <a:solidFill>
                    <a:schemeClr val="accent2"/>
                  </a:solidFill>
                  <a:latin typeface="Times New Roman" panose="02020603050405020304" pitchFamily="18" charset="0"/>
                  <a:cs typeface="Times New Roman" panose="02020603050405020304" pitchFamily="18" charset="0"/>
                </a:rPr>
                <a:t> ra </a:t>
              </a:r>
              <a:r>
                <a:rPr lang="en-US" sz="1900" kern="0" dirty="0" err="1">
                  <a:solidFill>
                    <a:schemeClr val="accent2"/>
                  </a:solidFill>
                  <a:latin typeface="Times New Roman" panose="02020603050405020304" pitchFamily="18" charset="0"/>
                  <a:cs typeface="Times New Roman" panose="02020603050405020304" pitchFamily="18" charset="0"/>
                </a:rPr>
                <a:t>nhiều</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quyết</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định</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tốt</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hơn</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với</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quan</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điểm</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mới</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và</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hiệu</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quả</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cao</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hơn</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cho</a:t>
              </a:r>
              <a:r>
                <a:rPr lang="en-US" sz="1900" kern="0" dirty="0">
                  <a:solidFill>
                    <a:schemeClr val="accent2"/>
                  </a:solidFill>
                  <a:latin typeface="Times New Roman" panose="02020603050405020304" pitchFamily="18" charset="0"/>
                  <a:cs typeface="Times New Roman" panose="02020603050405020304" pitchFamily="18" charset="0"/>
                </a:rPr>
                <a:t> </a:t>
              </a:r>
              <a:r>
                <a:rPr kumimoji="0" lang="en-US" sz="19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rPr>
                <a:t>EVN.</a:t>
              </a:r>
            </a:p>
            <a:p>
              <a:pPr marL="342900" indent="-342900" algn="just">
                <a:spcBef>
                  <a:spcPts val="600"/>
                </a:spcBef>
                <a:buFont typeface="Wingdings" panose="05000000000000000000" pitchFamily="2" charset="2"/>
                <a:buChar char="ü"/>
                <a:defRPr/>
              </a:pPr>
              <a:r>
                <a:rPr lang="en-US" sz="1900" kern="0" dirty="0" err="1">
                  <a:solidFill>
                    <a:schemeClr val="accent2"/>
                  </a:solidFill>
                  <a:latin typeface="Times New Roman" panose="02020603050405020304" pitchFamily="18" charset="0"/>
                  <a:cs typeface="Times New Roman" panose="02020603050405020304" pitchFamily="18" charset="0"/>
                </a:rPr>
                <a:t>Tăng</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cường</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khuyến</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khích</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phụ</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nữ</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cải</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tiến</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và</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đóng</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góp</a:t>
              </a:r>
              <a:r>
                <a:rPr lang="en-US" sz="1900" kern="0" dirty="0">
                  <a:solidFill>
                    <a:schemeClr val="accent2"/>
                  </a:solidFill>
                  <a:latin typeface="Times New Roman" panose="02020603050405020304" pitchFamily="18" charset="0"/>
                  <a:cs typeface="Times New Roman" panose="02020603050405020304" pitchFamily="18" charset="0"/>
                </a:rPr>
                <a:t> </a:t>
              </a:r>
              <a:r>
                <a:rPr lang="en-US" sz="1900" kern="0" dirty="0" err="1">
                  <a:solidFill>
                    <a:schemeClr val="accent2"/>
                  </a:solidFill>
                  <a:latin typeface="Times New Roman" panose="02020603050405020304" pitchFamily="18" charset="0"/>
                  <a:cs typeface="Times New Roman" panose="02020603050405020304" pitchFamily="18" charset="0"/>
                </a:rPr>
                <a:t>cho</a:t>
              </a:r>
              <a:r>
                <a:rPr lang="en-US" sz="1900" kern="0" dirty="0">
                  <a:solidFill>
                    <a:schemeClr val="accent2"/>
                  </a:solidFill>
                  <a:latin typeface="Times New Roman" panose="02020603050405020304" pitchFamily="18" charset="0"/>
                  <a:cs typeface="Times New Roman" panose="02020603050405020304" pitchFamily="18" charset="0"/>
                </a:rPr>
                <a:t> EVN.</a:t>
              </a:r>
              <a:endParaRPr kumimoji="0" lang="en-US" sz="1900" b="0" i="0" u="none" strike="noStrike" kern="0" cap="none" spc="0" normalizeH="0" baseline="0" noProof="0" dirty="0">
                <a:ln>
                  <a:noFill/>
                </a:ln>
                <a:solidFill>
                  <a:schemeClr val="accent2"/>
                </a:solidFill>
                <a:effectLst/>
                <a:uLnTx/>
                <a:uFillTx/>
                <a:latin typeface="Times New Roman" panose="02020603050405020304" pitchFamily="18" charset="0"/>
                <a:cs typeface="Times New Roman" panose="02020603050405020304" pitchFamily="18" charset="0"/>
              </a:endParaRPr>
            </a:p>
          </p:txBody>
        </p:sp>
        <p:sp>
          <p:nvSpPr>
            <p:cNvPr id="30" name="TextBox 29">
              <a:extLst>
                <a:ext uri="{FF2B5EF4-FFF2-40B4-BE49-F238E27FC236}">
                  <a16:creationId xmlns:a16="http://schemas.microsoft.com/office/drawing/2014/main" id="{631FA173-E7CF-4F4A-88F4-35AA137AC5AA}"/>
                </a:ext>
              </a:extLst>
            </p:cNvPr>
            <p:cNvSpPr txBox="1"/>
            <p:nvPr/>
          </p:nvSpPr>
          <p:spPr>
            <a:xfrm>
              <a:off x="1758833" y="1709816"/>
              <a:ext cx="2741158" cy="3948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Lợi</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íc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ủa</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doanh</a:t>
              </a:r>
              <a:r>
                <a:rPr kumimoji="0" lang="en-US" altLang="ko-KR"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nghiệp</a:t>
              </a:r>
              <a:endParaRPr kumimoji="0" lang="ko-KR" altLang="en-US"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grpSp>
        <p:nvGrpSpPr>
          <p:cNvPr id="31" name="Group 30">
            <a:extLst>
              <a:ext uri="{FF2B5EF4-FFF2-40B4-BE49-F238E27FC236}">
                <a16:creationId xmlns:a16="http://schemas.microsoft.com/office/drawing/2014/main" id="{2190B694-3DF4-449B-AD49-315651AF7720}"/>
              </a:ext>
            </a:extLst>
          </p:cNvPr>
          <p:cNvGrpSpPr/>
          <p:nvPr/>
        </p:nvGrpSpPr>
        <p:grpSpPr>
          <a:xfrm>
            <a:off x="3916430" y="4512251"/>
            <a:ext cx="8313986" cy="2036792"/>
            <a:chOff x="1758833" y="1699136"/>
            <a:chExt cx="2741158" cy="3116020"/>
          </a:xfrm>
        </p:grpSpPr>
        <p:sp>
          <p:nvSpPr>
            <p:cNvPr id="32" name="TextBox 31">
              <a:extLst>
                <a:ext uri="{FF2B5EF4-FFF2-40B4-BE49-F238E27FC236}">
                  <a16:creationId xmlns:a16="http://schemas.microsoft.com/office/drawing/2014/main" id="{D788DA68-46B1-41E0-95E4-7366DEB92643}"/>
                </a:ext>
              </a:extLst>
            </p:cNvPr>
            <p:cNvSpPr txBox="1"/>
            <p:nvPr/>
          </p:nvSpPr>
          <p:spPr>
            <a:xfrm>
              <a:off x="1758833" y="2201899"/>
              <a:ext cx="2575667" cy="2613257"/>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ó</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hêm</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ươ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ì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à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ạ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ừ</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VBCWE, USAID, ADF, WB,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ổ</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ứ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kh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ớ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ề</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à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ụ</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o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bộ</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máy</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lã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ạ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á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lã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ạ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ấp</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ao</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ụ</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o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EVN.</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Dịc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ụ</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ư</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ấ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á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giá</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à</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ứ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mi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va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rò</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quả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lý</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iều</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ành</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ủa</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phụ</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nữ</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sẽ</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ải</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hiện</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iệu</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quả</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hoạt</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động</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ủa</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tổ</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dirty="0" err="1">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chức</a:t>
              </a:r>
              <a:r>
                <a:rPr lang="en-US" altLang="ko-KR" sz="2000" dirty="0">
                  <a:solidFill>
                    <a:srgbClr val="70AD47"/>
                  </a:solidFill>
                  <a:latin typeface="Times New Roman" panose="02020603050405020304" pitchFamily="18" charset="0"/>
                  <a:ea typeface="맑은 고딕" panose="020B0503020000020004" pitchFamily="34" charset="-127"/>
                  <a:cs typeface="Times New Roman" panose="02020603050405020304" pitchFamily="18" charset="0"/>
                </a:rPr>
                <a:t>.</a:t>
              </a:r>
              <a:endParaRPr kumimoji="0" lang="en-US" altLang="ko-KR" sz="2000" b="0"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3" name="TextBox 32">
              <a:extLst>
                <a:ext uri="{FF2B5EF4-FFF2-40B4-BE49-F238E27FC236}">
                  <a16:creationId xmlns:a16="http://schemas.microsoft.com/office/drawing/2014/main" id="{AB95771C-FE24-452F-A0D4-D61A4BAD71FA}"/>
                </a:ext>
              </a:extLst>
            </p:cNvPr>
            <p:cNvSpPr txBox="1"/>
            <p:nvPr/>
          </p:nvSpPr>
          <p:spPr>
            <a:xfrm>
              <a:off x="1758833" y="1699136"/>
              <a:ext cx="2741158" cy="6121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ác</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ỗ</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rợ</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ần</a:t>
              </a:r>
              <a:r>
                <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hiết</a:t>
              </a:r>
              <a:endPar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grpSp>
        <p:nvGrpSpPr>
          <p:cNvPr id="34" name="Group 33">
            <a:extLst>
              <a:ext uri="{FF2B5EF4-FFF2-40B4-BE49-F238E27FC236}">
                <a16:creationId xmlns:a16="http://schemas.microsoft.com/office/drawing/2014/main" id="{B930B147-535D-47F7-9634-FC7BC42A72FB}"/>
              </a:ext>
            </a:extLst>
          </p:cNvPr>
          <p:cNvGrpSpPr/>
          <p:nvPr/>
        </p:nvGrpSpPr>
        <p:grpSpPr>
          <a:xfrm>
            <a:off x="3916430" y="1324792"/>
            <a:ext cx="7665634" cy="1731490"/>
            <a:chOff x="1758833" y="1729635"/>
            <a:chExt cx="2741159" cy="2092330"/>
          </a:xfrm>
        </p:grpSpPr>
        <p:sp>
          <p:nvSpPr>
            <p:cNvPr id="35" name="TextBox 34">
              <a:extLst>
                <a:ext uri="{FF2B5EF4-FFF2-40B4-BE49-F238E27FC236}">
                  <a16:creationId xmlns:a16="http://schemas.microsoft.com/office/drawing/2014/main" id="{85BC3F2D-A8A3-4594-BE27-0968DC19E186}"/>
                </a:ext>
              </a:extLst>
            </p:cNvPr>
            <p:cNvSpPr txBox="1"/>
            <p:nvPr/>
          </p:nvSpPr>
          <p:spPr>
            <a:xfrm>
              <a:off x="1758833" y="2129745"/>
              <a:ext cx="2741158" cy="1692220"/>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Tỷ</a:t>
              </a:r>
              <a:r>
                <a:rPr lang="en-US" sz="2000" dirty="0">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ea typeface="Times New Roman" panose="02020603050405020304" pitchFamily="18" charset="0"/>
                  <a:cs typeface="Times New Roman" panose="02020603050405020304" pitchFamily="18" charset="0"/>
                </a:rPr>
                <a:t>lệ</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ao</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ộ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ữ</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ro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000" dirty="0">
                  <a:solidFill>
                    <a:srgbClr val="4472C4"/>
                  </a:solidFill>
                  <a:latin typeface="Times New Roman" panose="02020603050405020304" pitchFamily="18" charset="0"/>
                  <a:cs typeface="Times New Roman" panose="02020603050405020304" pitchFamily="18" charset="0"/>
                </a:rPr>
                <a:t>EVN </a:t>
              </a:r>
              <a:r>
                <a:rPr lang="en-US" sz="2000" dirty="0" err="1">
                  <a:solidFill>
                    <a:srgbClr val="4472C4"/>
                  </a:solidFill>
                  <a:latin typeface="Times New Roman" panose="02020603050405020304" pitchFamily="18" charset="0"/>
                  <a:cs typeface="Times New Roman" panose="02020603050405020304" pitchFamily="18" charset="0"/>
                </a:rPr>
                <a:t>vào</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năm</a:t>
              </a:r>
              <a:r>
                <a:rPr lang="en-US" sz="2000" dirty="0">
                  <a:solidFill>
                    <a:srgbClr val="4472C4"/>
                  </a:solidFill>
                  <a:latin typeface="Times New Roman" panose="02020603050405020304" pitchFamily="18" charset="0"/>
                  <a:cs typeface="Times New Roman" panose="02020603050405020304" pitchFamily="18" charset="0"/>
                </a:rPr>
                <a:t> 2025 </a:t>
              </a:r>
              <a:r>
                <a:rPr lang="en-US" sz="2000" dirty="0" err="1">
                  <a:solidFill>
                    <a:srgbClr val="4472C4"/>
                  </a:solidFill>
                  <a:latin typeface="Times New Roman" panose="02020603050405020304" pitchFamily="18" charset="0"/>
                  <a:cs typeface="Times New Roman" panose="02020603050405020304" pitchFamily="18" charset="0"/>
                </a:rPr>
                <a:t>đạt</a:t>
              </a:r>
              <a:r>
                <a:rPr lang="en-US" sz="2000" dirty="0">
                  <a:solidFill>
                    <a:srgbClr val="4472C4"/>
                  </a:solidFill>
                  <a:latin typeface="Times New Roman" panose="02020603050405020304" pitchFamily="18" charset="0"/>
                  <a:cs typeface="Times New Roman" panose="02020603050405020304" pitchFamily="18" charset="0"/>
                </a:rPr>
                <a:t>: (i) 15% </a:t>
              </a:r>
              <a:r>
                <a:rPr lang="en-US" sz="2000" dirty="0" err="1">
                  <a:solidFill>
                    <a:srgbClr val="4472C4"/>
                  </a:solidFill>
                  <a:latin typeface="Times New Roman" panose="02020603050405020304" pitchFamily="18" charset="0"/>
                  <a:cs typeface="Times New Roman" panose="02020603050405020304" pitchFamily="18" charset="0"/>
                </a:rPr>
                <a:t>cấp</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quản</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lý</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điều</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hành</a:t>
              </a:r>
              <a:r>
                <a:rPr lang="en-US" sz="2000" dirty="0">
                  <a:solidFill>
                    <a:srgbClr val="4472C4"/>
                  </a:solidFill>
                  <a:latin typeface="Times New Roman" panose="02020603050405020304" pitchFamily="18" charset="0"/>
                  <a:cs typeface="Times New Roman" panose="02020603050405020304" pitchFamily="18" charset="0"/>
                </a:rPr>
                <a:t>;  (ii) 20% </a:t>
              </a:r>
              <a:r>
                <a:rPr lang="en-US" sz="2000" dirty="0" err="1">
                  <a:solidFill>
                    <a:srgbClr val="4472C4"/>
                  </a:solidFill>
                  <a:latin typeface="Times New Roman" panose="02020603050405020304" pitchFamily="18" charset="0"/>
                  <a:cs typeface="Times New Roman" panose="02020603050405020304" pitchFamily="18" charset="0"/>
                </a:rPr>
                <a:t>trong</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kế</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hoạch</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giai</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đoạn</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tiếp</a:t>
              </a:r>
              <a:r>
                <a:rPr lang="en-US" sz="2000" dirty="0">
                  <a:solidFill>
                    <a:srgbClr val="4472C4"/>
                  </a:solidFill>
                  <a:latin typeface="Times New Roman" panose="02020603050405020304" pitchFamily="18" charset="0"/>
                  <a:cs typeface="Times New Roman" panose="02020603050405020304" pitchFamily="18" charset="0"/>
                </a:rPr>
                <a:t> </a:t>
              </a:r>
              <a:r>
                <a:rPr lang="en-US" sz="2000" dirty="0" err="1">
                  <a:solidFill>
                    <a:srgbClr val="4472C4"/>
                  </a:solidFill>
                  <a:latin typeface="Times New Roman" panose="02020603050405020304" pitchFamily="18" charset="0"/>
                  <a:cs typeface="Times New Roman" panose="02020603050405020304" pitchFamily="18" charset="0"/>
                </a:rPr>
                <a:t>theo.</a:t>
              </a:r>
              <a:endPar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100%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phụ</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nữ</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rong</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ỳ</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oạch</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giai</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oạn</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ếp</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heo</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ược</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ào</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ạo</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ề</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n</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lý</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và</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điều</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000" b="0" i="0" u="none" strike="noStrike" kern="1200" cap="none" spc="0" normalizeH="0" baseline="0" noProof="0" dirty="0" err="1">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hành</a:t>
              </a:r>
              <a:r>
                <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a:t>
              </a:r>
            </a:p>
          </p:txBody>
        </p:sp>
        <p:sp>
          <p:nvSpPr>
            <p:cNvPr id="36" name="TextBox 35">
              <a:extLst>
                <a:ext uri="{FF2B5EF4-FFF2-40B4-BE49-F238E27FC236}">
                  <a16:creationId xmlns:a16="http://schemas.microsoft.com/office/drawing/2014/main" id="{AFAD246D-CDA7-46ED-A1D1-912F2F850C25}"/>
                </a:ext>
              </a:extLst>
            </p:cNvPr>
            <p:cNvSpPr txBox="1"/>
            <p:nvPr/>
          </p:nvSpPr>
          <p:spPr>
            <a:xfrm>
              <a:off x="1758834" y="1729635"/>
              <a:ext cx="2741158" cy="483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Kết</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quả</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kỳ</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vọng</a:t>
              </a:r>
              <a:endPar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sp>
        <p:nvSpPr>
          <p:cNvPr id="37" name="Rounded Rectangle 27">
            <a:extLst>
              <a:ext uri="{FF2B5EF4-FFF2-40B4-BE49-F238E27FC236}">
                <a16:creationId xmlns:a16="http://schemas.microsoft.com/office/drawing/2014/main" id="{1D4EECB2-6C07-42C4-BCB8-99ED7F103DCA}"/>
              </a:ext>
            </a:extLst>
          </p:cNvPr>
          <p:cNvSpPr/>
          <p:nvPr/>
        </p:nvSpPr>
        <p:spPr>
          <a:xfrm>
            <a:off x="3249251" y="1606510"/>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ed Rectangle 7">
            <a:extLst>
              <a:ext uri="{FF2B5EF4-FFF2-40B4-BE49-F238E27FC236}">
                <a16:creationId xmlns:a16="http://schemas.microsoft.com/office/drawing/2014/main" id="{7F03AA58-414C-4784-AE5A-B3078E2AD0B1}"/>
              </a:ext>
            </a:extLst>
          </p:cNvPr>
          <p:cNvSpPr/>
          <p:nvPr/>
        </p:nvSpPr>
        <p:spPr>
          <a:xfrm>
            <a:off x="3240089" y="3439249"/>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9" name="Round Same Side Corner Rectangle 36">
            <a:extLst>
              <a:ext uri="{FF2B5EF4-FFF2-40B4-BE49-F238E27FC236}">
                <a16:creationId xmlns:a16="http://schemas.microsoft.com/office/drawing/2014/main" id="{76686EDE-27AD-4066-93AD-C05D94440C2B}"/>
              </a:ext>
            </a:extLst>
          </p:cNvPr>
          <p:cNvSpPr/>
          <p:nvPr/>
        </p:nvSpPr>
        <p:spPr>
          <a:xfrm>
            <a:off x="3243900" y="4855966"/>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41" name="TextBox 40">
            <a:extLst>
              <a:ext uri="{FF2B5EF4-FFF2-40B4-BE49-F238E27FC236}">
                <a16:creationId xmlns:a16="http://schemas.microsoft.com/office/drawing/2014/main" id="{EA412507-8D45-46A0-88CF-8757F948E807}"/>
              </a:ext>
            </a:extLst>
          </p:cNvPr>
          <p:cNvSpPr txBox="1"/>
          <p:nvPr/>
        </p:nvSpPr>
        <p:spPr>
          <a:xfrm>
            <a:off x="438486" y="1030350"/>
            <a:ext cx="11448688" cy="400110"/>
          </a:xfrm>
          <a:prstGeom prst="rect">
            <a:avLst/>
          </a:prstGeom>
          <a:noFill/>
        </p:spPr>
        <p:txBody>
          <a:bodyPr wrap="square">
            <a:spAutoFit/>
          </a:bodyPr>
          <a:lstStyle/>
          <a:p>
            <a:pPr marL="0" lvl="0" indent="0">
              <a:buNone/>
            </a:pPr>
            <a:r>
              <a:rPr lang="en-US" sz="2000" b="1" dirty="0">
                <a:solidFill>
                  <a:srgbClr val="FF0000"/>
                </a:solidFill>
                <a:latin typeface="Times New Roman" panose="02020603050405020304" pitchFamily="18" charset="0"/>
                <a:cs typeface="Times New Roman" panose="02020603050405020304" pitchFamily="18" charset="0"/>
              </a:rPr>
              <a:t>TĂNG CƯỜNG SỰ THAM GIA CỦA LAO ĐỘNG NỮ TRONG CÔNG TÁC QUẢN LÝ ĐIỀU HÀNH</a:t>
            </a:r>
          </a:p>
        </p:txBody>
      </p:sp>
      <p:pic>
        <p:nvPicPr>
          <p:cNvPr id="40" name="Picture 2" descr="D:\backup07102013\o dia D\O D xin\logo EVN.jpg">
            <a:extLst>
              <a:ext uri="{FF2B5EF4-FFF2-40B4-BE49-F238E27FC236}">
                <a16:creationId xmlns:a16="http://schemas.microsoft.com/office/drawing/2014/main" id="{35B6E08A-CF6A-46F8-846A-2441013A737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 descr="Preview Img">
            <a:extLst>
              <a:ext uri="{FF2B5EF4-FFF2-40B4-BE49-F238E27FC236}">
                <a16:creationId xmlns:a16="http://schemas.microsoft.com/office/drawing/2014/main" id="{F8AEDF23-96C5-4FA0-BABB-657426420F2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841" y="1595928"/>
            <a:ext cx="3053306" cy="2138361"/>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Giải pháp hữu ích, làm lợi 500 triệu đồng/năm">
            <a:extLst>
              <a:ext uri="{FF2B5EF4-FFF2-40B4-BE49-F238E27FC236}">
                <a16:creationId xmlns:a16="http://schemas.microsoft.com/office/drawing/2014/main" id="{E7E3F8B0-2A71-4FDB-93CB-F662FFE8F62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841" y="4080355"/>
            <a:ext cx="3053306" cy="1839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19742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C518AC-2842-40B5-B1B3-26649AE30315}"/>
              </a:ext>
            </a:extLst>
          </p:cNvPr>
          <p:cNvSpPr/>
          <p:nvPr/>
        </p:nvSpPr>
        <p:spPr>
          <a:xfrm>
            <a:off x="-22940" y="310240"/>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VAI TRÒ CỦA NAM QUẢN LÝ TRONG EVN</a:t>
            </a:r>
          </a:p>
        </p:txBody>
      </p:sp>
      <p:grpSp>
        <p:nvGrpSpPr>
          <p:cNvPr id="9" name="Group 8">
            <a:extLst>
              <a:ext uri="{FF2B5EF4-FFF2-40B4-BE49-F238E27FC236}">
                <a16:creationId xmlns:a16="http://schemas.microsoft.com/office/drawing/2014/main" id="{5901D1F2-8268-41CC-AA65-E99483059161}"/>
              </a:ext>
            </a:extLst>
          </p:cNvPr>
          <p:cNvGrpSpPr/>
          <p:nvPr/>
        </p:nvGrpSpPr>
        <p:grpSpPr>
          <a:xfrm>
            <a:off x="5346478" y="891623"/>
            <a:ext cx="1369406" cy="36576"/>
            <a:chOff x="1775295" y="2020905"/>
            <a:chExt cx="3631535" cy="45719"/>
          </a:xfrm>
        </p:grpSpPr>
        <p:sp>
          <p:nvSpPr>
            <p:cNvPr id="10" name="Rectangle 9">
              <a:extLst>
                <a:ext uri="{FF2B5EF4-FFF2-40B4-BE49-F238E27FC236}">
                  <a16:creationId xmlns:a16="http://schemas.microsoft.com/office/drawing/2014/main" id="{25E54AB7-0333-46CC-962B-C58CBFFB7B3F}"/>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3BBADC2D-CBDD-4D63-AF11-E3E220E8DC4B}"/>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8DD4C835-6AA2-47DE-954F-CB399CD808D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553EBEF8-D940-4452-B71D-3AE4F541D154}"/>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944C6C1D-C6F7-4259-8911-BB27A3415C35}"/>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64D9C333-9BA0-47E0-B5DF-8AB778361023}"/>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37" name="Rounded Rectangle 27">
            <a:extLst>
              <a:ext uri="{FF2B5EF4-FFF2-40B4-BE49-F238E27FC236}">
                <a16:creationId xmlns:a16="http://schemas.microsoft.com/office/drawing/2014/main" id="{1D4EECB2-6C07-42C4-BCB8-99ED7F103DCA}"/>
              </a:ext>
            </a:extLst>
          </p:cNvPr>
          <p:cNvSpPr/>
          <p:nvPr/>
        </p:nvSpPr>
        <p:spPr>
          <a:xfrm>
            <a:off x="3249251" y="1606510"/>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ed Rectangle 7">
            <a:extLst>
              <a:ext uri="{FF2B5EF4-FFF2-40B4-BE49-F238E27FC236}">
                <a16:creationId xmlns:a16="http://schemas.microsoft.com/office/drawing/2014/main" id="{7F03AA58-414C-4784-AE5A-B3078E2AD0B1}"/>
              </a:ext>
            </a:extLst>
          </p:cNvPr>
          <p:cNvSpPr/>
          <p:nvPr/>
        </p:nvSpPr>
        <p:spPr>
          <a:xfrm>
            <a:off x="3240089" y="3439249"/>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pic>
        <p:nvPicPr>
          <p:cNvPr id="40" name="Picture 2" descr="D:\backup07102013\o dia D\O D xin\logo EVN.jpg">
            <a:extLst>
              <a:ext uri="{FF2B5EF4-FFF2-40B4-BE49-F238E27FC236}">
                <a16:creationId xmlns:a16="http://schemas.microsoft.com/office/drawing/2014/main" id="{35B6E08A-CF6A-46F8-846A-2441013A737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42">
            <a:extLst>
              <a:ext uri="{FF2B5EF4-FFF2-40B4-BE49-F238E27FC236}">
                <a16:creationId xmlns:a16="http://schemas.microsoft.com/office/drawing/2014/main" id="{7B948166-1D35-404D-8B93-E8055D79B2AD}"/>
              </a:ext>
            </a:extLst>
          </p:cNvPr>
          <p:cNvSpPr txBox="1"/>
          <p:nvPr/>
        </p:nvSpPr>
        <p:spPr>
          <a:xfrm>
            <a:off x="568675" y="1078084"/>
            <a:ext cx="11006487" cy="1354217"/>
          </a:xfrm>
          <a:prstGeom prst="rect">
            <a:avLst/>
          </a:prstGeom>
          <a:noFill/>
        </p:spPr>
        <p:txBody>
          <a:bodyPr wrap="square" rtlCol="0" anchor="t">
            <a:spAutoFit/>
          </a:bodyPr>
          <a:lstStyle/>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Hiện</a:t>
            </a:r>
            <a:r>
              <a:rPr lang="en-US" sz="2000" b="1" dirty="0">
                <a:solidFill>
                  <a:srgbClr val="0070C0"/>
                </a:solidFill>
                <a:latin typeface="Times New Roman" panose="02020603050405020304" pitchFamily="18" charset="0"/>
                <a:ea typeface="Calibri" panose="020F0502020204030204" pitchFamily="34" charset="0"/>
              </a:rPr>
              <a:t> nay,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Nam Quản </a:t>
            </a:r>
            <a:r>
              <a:rPr lang="en-US" sz="2000" b="1" dirty="0" err="1">
                <a:solidFill>
                  <a:srgbClr val="0070C0"/>
                </a:solidFill>
                <a:latin typeface="Times New Roman" panose="02020603050405020304" pitchFamily="18" charset="0"/>
                <a:ea typeface="Calibri" panose="020F0502020204030204" pitchFamily="34" charset="0"/>
              </a:rPr>
              <a:t>l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EVN: </a:t>
            </a:r>
            <a:r>
              <a:rPr lang="en-US" sz="4000" b="1" dirty="0">
                <a:solidFill>
                  <a:srgbClr val="0070C0"/>
                </a:solidFill>
                <a:latin typeface="Times New Roman" panose="02020603050405020304" pitchFamily="18" charset="0"/>
                <a:ea typeface="Calibri" panose="020F0502020204030204" pitchFamily="34" charset="0"/>
              </a:rPr>
              <a:t>11.230 </a:t>
            </a:r>
            <a:r>
              <a:rPr lang="en-US" sz="4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p>
          <a:p>
            <a:pPr lvl="2" algn="just">
              <a:spcBef>
                <a:spcPts val="600"/>
              </a:spcBef>
              <a:spcAft>
                <a:spcPts val="600"/>
              </a:spcAft>
              <a:defRPr/>
            </a:pP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iế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ỷ</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ệ</a:t>
            </a:r>
            <a:r>
              <a:rPr lang="en-US" sz="2000" b="1" dirty="0">
                <a:solidFill>
                  <a:srgbClr val="0070C0"/>
                </a:solidFill>
                <a:latin typeface="Times New Roman" panose="02020603050405020304" pitchFamily="18" charset="0"/>
                <a:ea typeface="Calibri" panose="020F0502020204030204" pitchFamily="34" charset="0"/>
              </a:rPr>
              <a:t> </a:t>
            </a:r>
            <a:r>
              <a:rPr lang="en-US" sz="3200" b="1" dirty="0">
                <a:solidFill>
                  <a:srgbClr val="FF0000"/>
                </a:solidFill>
                <a:latin typeface="Times New Roman" panose="02020603050405020304" pitchFamily="18" charset="0"/>
                <a:ea typeface="Calibri" panose="020F0502020204030204" pitchFamily="34" charset="0"/>
              </a:rPr>
              <a:t>87%</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Quản </a:t>
            </a:r>
            <a:r>
              <a:rPr lang="en-US" sz="2000" b="1" dirty="0" err="1">
                <a:solidFill>
                  <a:srgbClr val="0070C0"/>
                </a:solidFill>
                <a:latin typeface="Times New Roman" panose="02020603050405020304" pitchFamily="18" charset="0"/>
                <a:ea typeface="Calibri" panose="020F0502020204030204" pitchFamily="34" charset="0"/>
              </a:rPr>
              <a:t>l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ỉ</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ó</a:t>
            </a:r>
            <a:r>
              <a:rPr lang="en-US" sz="2000" b="1" dirty="0">
                <a:solidFill>
                  <a:srgbClr val="0070C0"/>
                </a:solidFill>
                <a:latin typeface="Times New Roman" panose="02020603050405020304" pitchFamily="18" charset="0"/>
                <a:ea typeface="Calibri" panose="020F0502020204030204" pitchFamily="34" charset="0"/>
              </a:rPr>
              <a:t> </a:t>
            </a:r>
            <a:r>
              <a:rPr lang="en-US" sz="3200" b="1" dirty="0">
                <a:solidFill>
                  <a:srgbClr val="FF0000"/>
                </a:solidFill>
                <a:latin typeface="Times New Roman" panose="02020603050405020304" pitchFamily="18" charset="0"/>
                <a:ea typeface="Calibri" panose="020F0502020204030204" pitchFamily="34" charset="0"/>
              </a:rPr>
              <a:t>13,05%</a:t>
            </a:r>
          </a:p>
        </p:txBody>
      </p:sp>
      <p:sp>
        <p:nvSpPr>
          <p:cNvPr id="44" name="TextBox 43">
            <a:extLst>
              <a:ext uri="{FF2B5EF4-FFF2-40B4-BE49-F238E27FC236}">
                <a16:creationId xmlns:a16="http://schemas.microsoft.com/office/drawing/2014/main" id="{7B948166-1D35-404D-8B93-E8055D79B2AD}"/>
              </a:ext>
            </a:extLst>
          </p:cNvPr>
          <p:cNvSpPr txBox="1"/>
          <p:nvPr/>
        </p:nvSpPr>
        <p:spPr>
          <a:xfrm>
            <a:off x="541407" y="2395793"/>
            <a:ext cx="11006487" cy="1015663"/>
          </a:xfrm>
          <a:prstGeom prst="rect">
            <a:avLst/>
          </a:prstGeom>
          <a:noFill/>
        </p:spPr>
        <p:txBody>
          <a:bodyPr wrap="square" rtlCol="0" anchor="t">
            <a:spAutoFit/>
          </a:bodyPr>
          <a:lstStyle/>
          <a:p>
            <a:pPr lvl="0" algn="just">
              <a:spcBef>
                <a:spcPts val="1200"/>
              </a:spcBef>
              <a:spcAft>
                <a:spcPts val="1200"/>
              </a:spcAft>
              <a:defRPr/>
            </a:pPr>
            <a:r>
              <a:rPr lang="en-US" sz="2000" b="1" dirty="0">
                <a:solidFill>
                  <a:schemeClr val="accent2"/>
                </a:solidFill>
                <a:latin typeface="Times New Roman" panose="02020603050405020304" pitchFamily="18" charset="0"/>
                <a:ea typeface="Calibri" panose="020F0502020204030204" pitchFamily="34" charset="0"/>
              </a:rPr>
              <a:t>Cho </a:t>
            </a:r>
            <a:r>
              <a:rPr lang="en-US" sz="2000" b="1" dirty="0" err="1">
                <a:solidFill>
                  <a:schemeClr val="accent2"/>
                </a:solidFill>
                <a:latin typeface="Times New Roman" panose="02020603050405020304" pitchFamily="18" charset="0"/>
                <a:ea typeface="Calibri" panose="020F0502020204030204" pitchFamily="34" charset="0"/>
              </a:rPr>
              <a:t>thấy</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rách</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nhiệm</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của</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cán</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bộ</a:t>
            </a:r>
            <a:r>
              <a:rPr lang="en-US" sz="2000" b="1" dirty="0">
                <a:solidFill>
                  <a:schemeClr val="accent2"/>
                </a:solidFill>
                <a:latin typeface="Times New Roman" panose="02020603050405020304" pitchFamily="18" charset="0"/>
                <a:ea typeface="Calibri" panose="020F0502020204030204" pitchFamily="34" charset="0"/>
              </a:rPr>
              <a:t> Nam Quản </a:t>
            </a:r>
            <a:r>
              <a:rPr lang="en-US" sz="2000" b="1" dirty="0" err="1">
                <a:solidFill>
                  <a:schemeClr val="accent2"/>
                </a:solidFill>
                <a:latin typeface="Times New Roman" panose="02020603050405020304" pitchFamily="18" charset="0"/>
                <a:ea typeface="Calibri" panose="020F0502020204030204" pitchFamily="34" charset="0"/>
              </a:rPr>
              <a:t>lý</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rất</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lớn</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với</a:t>
            </a:r>
            <a:r>
              <a:rPr lang="en-US" sz="2000" b="1" dirty="0">
                <a:solidFill>
                  <a:schemeClr val="accent2"/>
                </a:solidFill>
                <a:latin typeface="Times New Roman" panose="02020603050405020304" pitchFamily="18" charset="0"/>
                <a:ea typeface="Calibri" panose="020F0502020204030204" pitchFamily="34" charset="0"/>
              </a:rPr>
              <a:t> lực </a:t>
            </a:r>
            <a:r>
              <a:rPr lang="en-US" sz="2000" b="1" dirty="0" err="1">
                <a:solidFill>
                  <a:schemeClr val="accent2"/>
                </a:solidFill>
                <a:latin typeface="Times New Roman" panose="02020603050405020304" pitchFamily="18" charset="0"/>
                <a:ea typeface="Calibri" panose="020F0502020204030204" pitchFamily="34" charset="0"/>
              </a:rPr>
              <a:t>lượ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lao</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độ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Nữ</a:t>
            </a:r>
            <a:r>
              <a:rPr lang="en-US" sz="2000" b="1" dirty="0">
                <a:solidFill>
                  <a:schemeClr val="accent2"/>
                </a:solidFill>
                <a:latin typeface="Times New Roman" panose="02020603050405020304" pitchFamily="18" charset="0"/>
                <a:ea typeface="Calibri" panose="020F0502020204030204" pitchFamily="34" charset="0"/>
              </a:rPr>
              <a:t>: 20.140 </a:t>
            </a:r>
            <a:r>
              <a:rPr lang="en-US" sz="2000" b="1" dirty="0" err="1">
                <a:solidFill>
                  <a:schemeClr val="accent2"/>
                </a:solidFill>
                <a:latin typeface="Times New Roman" panose="02020603050405020304" pitchFamily="18" charset="0"/>
                <a:ea typeface="Calibri" panose="020F0502020204030204" pitchFamily="34" charset="0"/>
              </a:rPr>
              <a:t>người</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ỷ</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lệ</a:t>
            </a:r>
            <a:r>
              <a:rPr lang="en-US" sz="2000" b="1" dirty="0">
                <a:solidFill>
                  <a:schemeClr val="accent2"/>
                </a:solidFill>
                <a:latin typeface="Times New Roman" panose="02020603050405020304" pitchFamily="18" charset="0"/>
                <a:ea typeface="Calibri" panose="020F0502020204030204" pitchFamily="34" charset="0"/>
              </a:rPr>
              <a:t> 20,69% </a:t>
            </a:r>
            <a:r>
              <a:rPr lang="en-US" sz="2000" b="1" dirty="0" err="1">
                <a:solidFill>
                  <a:schemeClr val="accent2"/>
                </a:solidFill>
                <a:latin typeface="Times New Roman" panose="02020603050405020304" pitchFamily="18" charset="0"/>
                <a:ea typeface="Calibri" panose="020F0502020204030204" pitchFamily="34" charset="0"/>
              </a:rPr>
              <a:t>lao</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động</a:t>
            </a:r>
            <a:r>
              <a:rPr lang="en-US" sz="2000" b="1" dirty="0">
                <a:solidFill>
                  <a:schemeClr val="accent2"/>
                </a:solidFill>
                <a:latin typeface="Times New Roman" panose="02020603050405020304" pitchFamily="18" charset="0"/>
                <a:ea typeface="Calibri" panose="020F0502020204030204" pitchFamily="34" charset="0"/>
              </a:rPr>
              <a:t> EVN. </a:t>
            </a:r>
            <a:r>
              <a:rPr lang="en-US" sz="2000" b="1" dirty="0" err="1">
                <a:solidFill>
                  <a:schemeClr val="accent2"/>
                </a:solidFill>
                <a:latin typeface="Times New Roman" panose="02020603050405020304" pitchFamily="18" charset="0"/>
                <a:ea typeface="Calibri" panose="020F0502020204030204" pitchFamily="34" charset="0"/>
              </a:rPr>
              <a:t>Để</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hực</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hiện</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ốt</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Chươ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rình</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kế</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hoạch</a:t>
            </a:r>
            <a:r>
              <a:rPr lang="en-US" sz="2000" b="1" dirty="0">
                <a:solidFill>
                  <a:schemeClr val="accent2"/>
                </a:solidFill>
                <a:latin typeface="Times New Roman" panose="02020603050405020304" pitchFamily="18" charset="0"/>
                <a:ea typeface="Calibri" panose="020F0502020204030204" pitchFamily="34" charset="0"/>
              </a:rPr>
              <a:t> Bình </a:t>
            </a:r>
            <a:r>
              <a:rPr lang="en-US" sz="2000" b="1" dirty="0" err="1">
                <a:solidFill>
                  <a:schemeClr val="accent2"/>
                </a:solidFill>
                <a:latin typeface="Times New Roman" panose="02020603050405020304" pitchFamily="18" charset="0"/>
                <a:ea typeface="Calibri" panose="020F0502020204030204" pitchFamily="34" charset="0"/>
              </a:rPr>
              <a:t>đẳ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giới</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của</a:t>
            </a:r>
            <a:r>
              <a:rPr lang="en-US" sz="2000" b="1" dirty="0">
                <a:solidFill>
                  <a:schemeClr val="accent2"/>
                </a:solidFill>
                <a:latin typeface="Times New Roman" panose="02020603050405020304" pitchFamily="18" charset="0"/>
                <a:ea typeface="Calibri" panose="020F0502020204030204" pitchFamily="34" charset="0"/>
              </a:rPr>
              <a:t> EVN </a:t>
            </a:r>
            <a:r>
              <a:rPr lang="en-US" sz="2000" b="1" dirty="0" err="1">
                <a:solidFill>
                  <a:schemeClr val="accent2"/>
                </a:solidFill>
                <a:latin typeface="Times New Roman" panose="02020603050405020304" pitchFamily="18" charset="0"/>
                <a:ea typeface="Calibri" panose="020F0502020204030204" pitchFamily="34" charset="0"/>
              </a:rPr>
              <a:t>giai</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đoạn</a:t>
            </a:r>
            <a:r>
              <a:rPr lang="en-US" sz="2000" b="1" dirty="0">
                <a:solidFill>
                  <a:schemeClr val="accent2"/>
                </a:solidFill>
                <a:latin typeface="Times New Roman" panose="02020603050405020304" pitchFamily="18" charset="0"/>
                <a:ea typeface="Calibri" panose="020F0502020204030204" pitchFamily="34" charset="0"/>
              </a:rPr>
              <a:t> 2021 -2025 </a:t>
            </a:r>
            <a:r>
              <a:rPr lang="en-US" sz="2000" b="1" dirty="0" err="1">
                <a:solidFill>
                  <a:schemeClr val="accent2"/>
                </a:solidFill>
                <a:latin typeface="Times New Roman" panose="02020603050405020304" pitchFamily="18" charset="0"/>
                <a:ea typeface="Calibri" panose="020F0502020204030204" pitchFamily="34" charset="0"/>
              </a:rPr>
              <a:t>và</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nhữ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giai</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đoạn</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tương</a:t>
            </a:r>
            <a:r>
              <a:rPr lang="en-US" sz="2000" b="1" dirty="0">
                <a:solidFill>
                  <a:schemeClr val="accent2"/>
                </a:solidFill>
                <a:latin typeface="Times New Roman" panose="02020603050405020304" pitchFamily="18" charset="0"/>
                <a:ea typeface="Calibri" panose="020F0502020204030204" pitchFamily="34" charset="0"/>
              </a:rPr>
              <a:t> </a:t>
            </a:r>
            <a:r>
              <a:rPr lang="en-US" sz="2000" b="1" dirty="0" err="1">
                <a:solidFill>
                  <a:schemeClr val="accent2"/>
                </a:solidFill>
                <a:latin typeface="Times New Roman" panose="02020603050405020304" pitchFamily="18" charset="0"/>
                <a:ea typeface="Calibri" panose="020F0502020204030204" pitchFamily="34" charset="0"/>
              </a:rPr>
              <a:t>lai</a:t>
            </a:r>
            <a:r>
              <a:rPr lang="en-US" sz="2000" b="1" dirty="0">
                <a:solidFill>
                  <a:schemeClr val="accent2"/>
                </a:solidFill>
                <a:latin typeface="Times New Roman" panose="02020603050405020304" pitchFamily="18" charset="0"/>
                <a:ea typeface="Calibri" panose="020F0502020204030204" pitchFamily="34" charset="0"/>
              </a:rPr>
              <a:t>.</a:t>
            </a:r>
          </a:p>
        </p:txBody>
      </p:sp>
      <p:pic>
        <p:nvPicPr>
          <p:cNvPr id="2" name="Pictur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8926" y="3938955"/>
            <a:ext cx="2727890" cy="2399704"/>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584353" y="3938955"/>
            <a:ext cx="3524250" cy="2390775"/>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316140" y="3931759"/>
            <a:ext cx="4105315" cy="2394767"/>
          </a:xfrm>
          <a:prstGeom prst="rect">
            <a:avLst/>
          </a:prstGeom>
        </p:spPr>
      </p:pic>
      <p:sp>
        <p:nvSpPr>
          <p:cNvPr id="7" name="Rectangle 6"/>
          <p:cNvSpPr/>
          <p:nvPr/>
        </p:nvSpPr>
        <p:spPr>
          <a:xfrm>
            <a:off x="493360" y="3445214"/>
            <a:ext cx="415498" cy="369332"/>
          </a:xfrm>
          <a:prstGeom prst="rect">
            <a:avLst/>
          </a:prstGeom>
        </p:spPr>
        <p:txBody>
          <a:bodyPr wrap="none">
            <a:spAutoFit/>
          </a:bodyPr>
          <a:lstStyle/>
          <a:p>
            <a:pPr lvl="0" algn="just">
              <a:spcBef>
                <a:spcPts val="1200"/>
              </a:spcBef>
              <a:spcAft>
                <a:spcPts val="1200"/>
              </a:spcAft>
              <a:defRPr/>
            </a:pPr>
            <a:r>
              <a:rPr lang="en-US" b="1" dirty="0">
                <a:solidFill>
                  <a:schemeClr val="accent2"/>
                </a:solidFill>
                <a:latin typeface="Times New Roman" panose="02020603050405020304" pitchFamily="18" charset="0"/>
                <a:ea typeface="Calibri" panose="020F0502020204030204" pitchFamily="34" charset="0"/>
              </a:rPr>
              <a:t>…</a:t>
            </a:r>
          </a:p>
        </p:txBody>
      </p:sp>
    </p:spTree>
    <p:extLst>
      <p:ext uri="{BB962C8B-B14F-4D97-AF65-F5344CB8AC3E}">
        <p14:creationId xmlns:p14="http://schemas.microsoft.com/office/powerpoint/2010/main" val="41755764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C518AC-2842-40B5-B1B3-26649AE30315}"/>
              </a:ext>
            </a:extLst>
          </p:cNvPr>
          <p:cNvSpPr/>
          <p:nvPr/>
        </p:nvSpPr>
        <p:spPr>
          <a:xfrm>
            <a:off x="-22940" y="310240"/>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VAI TRÒ CỦA NAM QUẢN LÝ TRONG EVN</a:t>
            </a:r>
          </a:p>
        </p:txBody>
      </p:sp>
      <p:grpSp>
        <p:nvGrpSpPr>
          <p:cNvPr id="9" name="Group 8">
            <a:extLst>
              <a:ext uri="{FF2B5EF4-FFF2-40B4-BE49-F238E27FC236}">
                <a16:creationId xmlns:a16="http://schemas.microsoft.com/office/drawing/2014/main" id="{5901D1F2-8268-41CC-AA65-E99483059161}"/>
              </a:ext>
            </a:extLst>
          </p:cNvPr>
          <p:cNvGrpSpPr/>
          <p:nvPr/>
        </p:nvGrpSpPr>
        <p:grpSpPr>
          <a:xfrm>
            <a:off x="5346478" y="891623"/>
            <a:ext cx="1369406" cy="36576"/>
            <a:chOff x="1775295" y="2020905"/>
            <a:chExt cx="3631535" cy="45719"/>
          </a:xfrm>
        </p:grpSpPr>
        <p:sp>
          <p:nvSpPr>
            <p:cNvPr id="10" name="Rectangle 9">
              <a:extLst>
                <a:ext uri="{FF2B5EF4-FFF2-40B4-BE49-F238E27FC236}">
                  <a16:creationId xmlns:a16="http://schemas.microsoft.com/office/drawing/2014/main" id="{25E54AB7-0333-46CC-962B-C58CBFFB7B3F}"/>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3BBADC2D-CBDD-4D63-AF11-E3E220E8DC4B}"/>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8DD4C835-6AA2-47DE-954F-CB399CD808D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553EBEF8-D940-4452-B71D-3AE4F541D154}"/>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944C6C1D-C6F7-4259-8911-BB27A3415C35}"/>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64D9C333-9BA0-47E0-B5DF-8AB778361023}"/>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37" name="Rounded Rectangle 27">
            <a:extLst>
              <a:ext uri="{FF2B5EF4-FFF2-40B4-BE49-F238E27FC236}">
                <a16:creationId xmlns:a16="http://schemas.microsoft.com/office/drawing/2014/main" id="{1D4EECB2-6C07-42C4-BCB8-99ED7F103DCA}"/>
              </a:ext>
            </a:extLst>
          </p:cNvPr>
          <p:cNvSpPr/>
          <p:nvPr/>
        </p:nvSpPr>
        <p:spPr>
          <a:xfrm>
            <a:off x="3249251" y="1606510"/>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ed Rectangle 7">
            <a:extLst>
              <a:ext uri="{FF2B5EF4-FFF2-40B4-BE49-F238E27FC236}">
                <a16:creationId xmlns:a16="http://schemas.microsoft.com/office/drawing/2014/main" id="{7F03AA58-414C-4784-AE5A-B3078E2AD0B1}"/>
              </a:ext>
            </a:extLst>
          </p:cNvPr>
          <p:cNvSpPr/>
          <p:nvPr/>
        </p:nvSpPr>
        <p:spPr>
          <a:xfrm>
            <a:off x="3240089" y="3439249"/>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pic>
        <p:nvPicPr>
          <p:cNvPr id="40" name="Picture 2" descr="D:\backup07102013\o dia D\O D xin\logo EVN.jpg">
            <a:extLst>
              <a:ext uri="{FF2B5EF4-FFF2-40B4-BE49-F238E27FC236}">
                <a16:creationId xmlns:a16="http://schemas.microsoft.com/office/drawing/2014/main" id="{35B6E08A-CF6A-46F8-846A-2441013A737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7B948166-1D35-404D-8B93-E8055D79B2AD}"/>
              </a:ext>
            </a:extLst>
          </p:cNvPr>
          <p:cNvSpPr txBox="1"/>
          <p:nvPr/>
        </p:nvSpPr>
        <p:spPr>
          <a:xfrm>
            <a:off x="6073059" y="1338603"/>
            <a:ext cx="5579399" cy="3653372"/>
          </a:xfrm>
          <a:prstGeom prst="rect">
            <a:avLst/>
          </a:prstGeom>
          <a:noFill/>
        </p:spPr>
        <p:txBody>
          <a:bodyPr wrap="square" rtlCol="0" anchor="t">
            <a:spAutoFit/>
          </a:bodyPr>
          <a:lstStyle/>
          <a:p>
            <a:pPr marL="342900" lvl="0" indent="-342900" algn="just">
              <a:lnSpc>
                <a:spcPts val="2800"/>
              </a:lnSpc>
              <a:spcBef>
                <a:spcPts val="1200"/>
              </a:spcBef>
              <a:spcAft>
                <a:spcPts val="1200"/>
              </a:spcAft>
              <a:buFont typeface="Wingdings" panose="05000000000000000000" pitchFamily="2" charset="2"/>
              <a:buChar char="v"/>
              <a:defRPr/>
            </a:pPr>
            <a:r>
              <a:rPr lang="en-US" sz="2000" b="1" dirty="0" err="1">
                <a:solidFill>
                  <a:srgbClr val="0070C0"/>
                </a:solidFill>
                <a:latin typeface="Times New Roman" panose="02020603050405020304" pitchFamily="18" charset="0"/>
                <a:ea typeface="Calibri" panose="020F0502020204030204" pitchFamily="34" charset="0"/>
              </a:rPr>
              <a:t>Ngày</a:t>
            </a:r>
            <a:r>
              <a:rPr lang="en-US" sz="2000" b="1" dirty="0">
                <a:solidFill>
                  <a:srgbClr val="0070C0"/>
                </a:solidFill>
                <a:latin typeface="Times New Roman" panose="02020603050405020304" pitchFamily="18" charset="0"/>
                <a:ea typeface="Calibri" panose="020F0502020204030204" pitchFamily="34" charset="0"/>
              </a:rPr>
              <a:t> nay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ác</a:t>
            </a:r>
            <a:r>
              <a:rPr lang="en-US" sz="2000" b="1" dirty="0">
                <a:solidFill>
                  <a:srgbClr val="0070C0"/>
                </a:solidFill>
                <a:latin typeface="Times New Roman" panose="02020603050405020304" pitchFamily="18" charset="0"/>
                <a:ea typeface="Calibri" panose="020F0502020204030204" pitchFamily="34" charset="0"/>
              </a:rPr>
              <a:t> Bình </a:t>
            </a:r>
            <a:r>
              <a:rPr lang="en-US" sz="2000" b="1" dirty="0" err="1">
                <a:solidFill>
                  <a:srgbClr val="0070C0"/>
                </a:solidFill>
                <a:latin typeface="Times New Roman" panose="02020603050405020304" pitchFamily="18" charset="0"/>
                <a:ea typeface="Calibri" panose="020F0502020204030204" pitchFamily="34" charset="0"/>
              </a:rPr>
              <a:t>đẳ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ỉ</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a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â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CBCNV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ả</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gi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ể</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ạ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ậ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ộ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ậ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ể</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ạ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ò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ậ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ô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ườ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c</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toàn</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toà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â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ý</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toà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u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hĩ</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toà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a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c</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toà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a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ê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a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ò</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Quản </a:t>
            </a:r>
            <a:r>
              <a:rPr lang="en-US" sz="2000" b="1" dirty="0" err="1">
                <a:solidFill>
                  <a:srgbClr val="0070C0"/>
                </a:solidFill>
                <a:latin typeface="Times New Roman" panose="02020603050405020304" pitchFamily="18" charset="0"/>
                <a:ea typeface="Calibri" panose="020F0502020204030204" pitchFamily="34" charset="0"/>
              </a:rPr>
              <a:t>l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ó</a:t>
            </a:r>
            <a:r>
              <a:rPr lang="en-US" sz="2000" b="1" dirty="0">
                <a:solidFill>
                  <a:srgbClr val="0070C0"/>
                </a:solidFill>
                <a:latin typeface="Times New Roman" panose="02020603050405020304" pitchFamily="18" charset="0"/>
                <a:ea typeface="Calibri" panose="020F0502020204030204" pitchFamily="34" charset="0"/>
              </a:rPr>
              <a:t> Quản </a:t>
            </a:r>
            <a:r>
              <a:rPr lang="en-US" sz="2000" b="1" dirty="0" err="1">
                <a:solidFill>
                  <a:srgbClr val="0070C0"/>
                </a:solidFill>
                <a:latin typeface="Times New Roman" panose="02020603050405020304" pitchFamily="18" charset="0"/>
                <a:ea typeface="Calibri" panose="020F0502020204030204" pitchFamily="34" charset="0"/>
              </a:rPr>
              <a:t>lý</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chiế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ố</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ắ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ầ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ế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ị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ự</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o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Bình </a:t>
            </a:r>
            <a:r>
              <a:rPr lang="en-US" sz="2000" b="1" dirty="0" err="1">
                <a:solidFill>
                  <a:srgbClr val="0070C0"/>
                </a:solidFill>
                <a:latin typeface="Times New Roman" panose="02020603050405020304" pitchFamily="18" charset="0"/>
                <a:ea typeface="Calibri" panose="020F0502020204030204" pitchFamily="34" charset="0"/>
              </a:rPr>
              <a:t>đẳ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ới</a:t>
            </a:r>
            <a:r>
              <a:rPr lang="en-US" sz="2000" b="1" dirty="0">
                <a:solidFill>
                  <a:srgbClr val="0070C0"/>
                </a:solidFill>
                <a:latin typeface="Times New Roman" panose="02020603050405020304" pitchFamily="18" charset="0"/>
                <a:ea typeface="Calibri" panose="020F0502020204030204" pitchFamily="34" charset="0"/>
              </a:rPr>
              <a:t>.</a:t>
            </a:r>
          </a:p>
        </p:txBody>
      </p:sp>
      <p:pic>
        <p:nvPicPr>
          <p:cNvPr id="4" name="Picture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0507" y="1425555"/>
            <a:ext cx="5181600" cy="3368118"/>
          </a:xfrm>
          <a:prstGeom prst="rect">
            <a:avLst/>
          </a:prstGeom>
          <a:ln w="127000" cap="sq">
            <a:solidFill>
              <a:srgbClr val="3686C2"/>
            </a:solidFill>
            <a:miter lim="800000"/>
          </a:ln>
          <a:effectLst>
            <a:outerShdw blurRad="57150" dist="50800" dir="2700000" algn="tl" rotWithShape="0">
              <a:srgbClr val="000000">
                <a:alpha val="40000"/>
              </a:srgbClr>
            </a:outerShdw>
          </a:effectLst>
        </p:spPr>
      </p:pic>
      <p:sp>
        <p:nvSpPr>
          <p:cNvPr id="5" name="Rectangle 4"/>
          <p:cNvSpPr/>
          <p:nvPr/>
        </p:nvSpPr>
        <p:spPr>
          <a:xfrm>
            <a:off x="810506" y="5153914"/>
            <a:ext cx="10702621" cy="1140312"/>
          </a:xfrm>
          <a:prstGeom prst="rect">
            <a:avLst/>
          </a:prstGeom>
        </p:spPr>
        <p:txBody>
          <a:bodyPr wrap="square">
            <a:spAutoFit/>
          </a:bodyPr>
          <a:lstStyle/>
          <a:p>
            <a:pPr marL="342900" lvl="0" indent="-342900" algn="just">
              <a:lnSpc>
                <a:spcPts val="2600"/>
              </a:lnSpc>
              <a:spcBef>
                <a:spcPts val="300"/>
              </a:spcBef>
              <a:spcAft>
                <a:spcPts val="300"/>
              </a:spcAft>
              <a:buFont typeface="Wingdings" panose="05000000000000000000" pitchFamily="2" charset="2"/>
              <a:buChar char="v"/>
              <a:defRPr/>
            </a:pPr>
            <a:r>
              <a:rPr lang="en-US" b="1" dirty="0" err="1">
                <a:solidFill>
                  <a:srgbClr val="0070C0"/>
                </a:solidFill>
                <a:latin typeface="Times New Roman" panose="02020603050405020304" pitchFamily="18" charset="0"/>
                <a:ea typeface="Calibri" panose="020F0502020204030204" pitchFamily="34" charset="0"/>
              </a:rPr>
              <a:t>Mỗ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á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ộ</a:t>
            </a:r>
            <a:r>
              <a:rPr lang="en-US" b="1" dirty="0">
                <a:solidFill>
                  <a:srgbClr val="0070C0"/>
                </a:solidFill>
                <a:latin typeface="Times New Roman" panose="02020603050405020304" pitchFamily="18" charset="0"/>
                <a:ea typeface="Calibri" panose="020F0502020204030204" pitchFamily="34" charset="0"/>
              </a:rPr>
              <a:t> Quản </a:t>
            </a:r>
            <a:r>
              <a:rPr lang="en-US" b="1" dirty="0" err="1">
                <a:solidFill>
                  <a:srgbClr val="0070C0"/>
                </a:solidFill>
                <a:latin typeface="Times New Roman" panose="02020603050405020304" pitchFamily="18" charset="0"/>
                <a:ea typeface="Calibri" panose="020F0502020204030204" pitchFamily="34" charset="0"/>
              </a:rPr>
              <a:t>lý</a:t>
            </a:r>
            <a:r>
              <a:rPr lang="en-US" b="1" dirty="0">
                <a:solidFill>
                  <a:srgbClr val="0070C0"/>
                </a:solidFill>
                <a:latin typeface="Times New Roman" panose="02020603050405020304" pitchFamily="18" charset="0"/>
                <a:ea typeface="Calibri" panose="020F0502020204030204" pitchFamily="34" charset="0"/>
              </a:rPr>
              <a:t> Nam </a:t>
            </a:r>
            <a:r>
              <a:rPr lang="en-US" b="1" dirty="0" err="1">
                <a:solidFill>
                  <a:srgbClr val="0070C0"/>
                </a:solidFill>
                <a:latin typeface="Times New Roman" panose="02020603050405020304" pitchFamily="18" charset="0"/>
                <a:ea typeface="Calibri" panose="020F0502020204030204" pitchFamily="34" charset="0"/>
              </a:rPr>
              <a:t>cầm</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iế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hiểu</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ập</a:t>
            </a:r>
            <a:r>
              <a:rPr lang="en-US" b="1" dirty="0">
                <a:solidFill>
                  <a:srgbClr val="0070C0"/>
                </a:solidFill>
                <a:latin typeface="Times New Roman" panose="02020603050405020304" pitchFamily="18" charset="0"/>
                <a:ea typeface="Calibri" panose="020F0502020204030204" pitchFamily="34" charset="0"/>
              </a:rPr>
              <a:t>/</a:t>
            </a:r>
            <a:r>
              <a:rPr lang="en-US" b="1" dirty="0" err="1">
                <a:solidFill>
                  <a:srgbClr val="0070C0"/>
                </a:solidFill>
                <a:latin typeface="Times New Roman" panose="02020603050405020304" pitchFamily="18" charset="0"/>
                <a:ea typeface="Calibri" panose="020F0502020204030204" pitchFamily="34" charset="0"/>
              </a:rPr>
              <a:t>tham</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gia</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à</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hự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h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hươ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rình</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ình</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ẳ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giớ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ạ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ơ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ị</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Qua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âm</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hơ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ữa</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iệ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â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ao</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hấ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ượ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à</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ă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số</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ượng</a:t>
            </a:r>
            <a:r>
              <a:rPr lang="en-US" b="1" dirty="0">
                <a:solidFill>
                  <a:srgbClr val="0070C0"/>
                </a:solidFill>
                <a:latin typeface="Times New Roman" panose="02020603050405020304" pitchFamily="18" charset="0"/>
                <a:ea typeface="Calibri" panose="020F0502020204030204" pitchFamily="34" charset="0"/>
              </a:rPr>
              <a:t> Lao </a:t>
            </a:r>
            <a:r>
              <a:rPr lang="en-US" b="1" dirty="0" err="1">
                <a:solidFill>
                  <a:srgbClr val="0070C0"/>
                </a:solidFill>
                <a:latin typeface="Times New Roman" panose="02020603050405020304" pitchFamily="18" charset="0"/>
                <a:ea typeface="Calibri" panose="020F0502020204030204" pitchFamily="34" charset="0"/>
              </a:rPr>
              <a:t>độ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ữ</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giớ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ồ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hờ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hú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ẩy</a:t>
            </a:r>
            <a:endParaRPr lang="en-US" b="1" dirty="0">
              <a:solidFill>
                <a:srgbClr val="0070C0"/>
              </a:solidFill>
              <a:latin typeface="Times New Roman" panose="02020603050405020304" pitchFamily="18" charset="0"/>
              <a:ea typeface="Calibri" panose="020F0502020204030204" pitchFamily="34" charset="0"/>
            </a:endParaRPr>
          </a:p>
          <a:p>
            <a:pPr lvl="0" algn="just">
              <a:lnSpc>
                <a:spcPts val="2600"/>
              </a:lnSpc>
              <a:spcBef>
                <a:spcPts val="300"/>
              </a:spcBef>
              <a:spcAft>
                <a:spcPts val="300"/>
              </a:spcAft>
              <a:defRPr/>
            </a:pPr>
            <a:r>
              <a:rPr lang="en-US" b="1" dirty="0">
                <a:solidFill>
                  <a:srgbClr val="0070C0"/>
                </a:solidFill>
                <a:latin typeface="Times New Roman" panose="02020603050405020304" pitchFamily="18" charset="0"/>
                <a:ea typeface="Calibri" panose="020F0502020204030204" pitchFamily="34" charset="0"/>
              </a:rPr>
              <a:t>      </a:t>
            </a:r>
            <a:r>
              <a:rPr lang="en-US" b="1" i="1" dirty="0">
                <a:solidFill>
                  <a:srgbClr val="00B0F0"/>
                </a:solidFill>
                <a:latin typeface="Times New Roman" panose="02020603050405020304" pitchFamily="18" charset="0"/>
                <a:ea typeface="Calibri" panose="020F0502020204030204" pitchFamily="34" charset="0"/>
              </a:rPr>
              <a:t>“</a:t>
            </a:r>
            <a:r>
              <a:rPr lang="en-US" b="1" i="1" dirty="0" err="1">
                <a:solidFill>
                  <a:srgbClr val="00B0F0"/>
                </a:solidFill>
                <a:latin typeface="Times New Roman" panose="02020603050405020304" pitchFamily="18" charset="0"/>
                <a:ea typeface="Calibri" panose="020F0502020204030204" pitchFamily="34" charset="0"/>
              </a:rPr>
              <a:t>Kỹ</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năng</a:t>
            </a:r>
            <a:r>
              <a:rPr lang="en-US" b="1" i="1" dirty="0">
                <a:solidFill>
                  <a:srgbClr val="00B0F0"/>
                </a:solidFill>
                <a:latin typeface="Times New Roman" panose="02020603050405020304" pitchFamily="18" charset="0"/>
                <a:ea typeface="Calibri" panose="020F0502020204030204" pitchFamily="34" charset="0"/>
              </a:rPr>
              <a:t> Nam </a:t>
            </a:r>
            <a:r>
              <a:rPr lang="en-US" b="1" i="1" dirty="0" err="1">
                <a:solidFill>
                  <a:srgbClr val="00B0F0"/>
                </a:solidFill>
                <a:latin typeface="Times New Roman" panose="02020603050405020304" pitchFamily="18" charset="0"/>
                <a:ea typeface="Calibri" panose="020F0502020204030204" pitchFamily="34" charset="0"/>
              </a:rPr>
              <a:t>tính</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hạn</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chế</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mức</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thấp</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nhất</a:t>
            </a:r>
            <a:r>
              <a:rPr lang="en-US" b="1" i="1" dirty="0">
                <a:solidFill>
                  <a:srgbClr val="00B0F0"/>
                </a:solidFill>
                <a:latin typeface="Times New Roman" panose="02020603050405020304" pitchFamily="18" charset="0"/>
                <a:ea typeface="Calibri" panose="020F0502020204030204" pitchFamily="34" charset="0"/>
              </a:rPr>
              <a:t> Nam </a:t>
            </a:r>
            <a:r>
              <a:rPr lang="en-US" b="1" i="1" dirty="0" err="1">
                <a:solidFill>
                  <a:srgbClr val="00B0F0"/>
                </a:solidFill>
                <a:latin typeface="Times New Roman" panose="02020603050405020304" pitchFamily="18" charset="0"/>
                <a:ea typeface="Calibri" panose="020F0502020204030204" pitchFamily="34" charset="0"/>
              </a:rPr>
              <a:t>tính</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mức</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độc</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hại</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đối</a:t>
            </a:r>
            <a:r>
              <a:rPr lang="en-US" b="1" i="1" dirty="0">
                <a:solidFill>
                  <a:srgbClr val="00B0F0"/>
                </a:solidFill>
                <a:latin typeface="Times New Roman" panose="02020603050405020304" pitchFamily="18" charset="0"/>
                <a:ea typeface="Calibri" panose="020F0502020204030204" pitchFamily="34" charset="0"/>
              </a:rPr>
              <a:t> </a:t>
            </a:r>
            <a:r>
              <a:rPr lang="en-US" b="1" i="1" dirty="0" err="1">
                <a:solidFill>
                  <a:srgbClr val="00B0F0"/>
                </a:solidFill>
                <a:latin typeface="Times New Roman" panose="02020603050405020304" pitchFamily="18" charset="0"/>
                <a:ea typeface="Calibri" panose="020F0502020204030204" pitchFamily="34" charset="0"/>
              </a:rPr>
              <a:t>với</a:t>
            </a:r>
            <a:r>
              <a:rPr lang="en-US" b="1" i="1" dirty="0">
                <a:solidFill>
                  <a:srgbClr val="00B0F0"/>
                </a:solidFill>
                <a:latin typeface="Times New Roman" panose="02020603050405020304" pitchFamily="18" charset="0"/>
                <a:ea typeface="Calibri" panose="020F0502020204030204" pitchFamily="34" charset="0"/>
              </a:rPr>
              <a:t> Lao </a:t>
            </a:r>
            <a:r>
              <a:rPr lang="en-US" b="1" i="1" dirty="0" err="1">
                <a:solidFill>
                  <a:srgbClr val="00B0F0"/>
                </a:solidFill>
                <a:latin typeface="Times New Roman" panose="02020603050405020304" pitchFamily="18" charset="0"/>
                <a:ea typeface="Calibri" panose="020F0502020204030204" pitchFamily="34" charset="0"/>
              </a:rPr>
              <a:t>động</a:t>
            </a:r>
            <a:r>
              <a:rPr lang="en-US" b="1" i="1" dirty="0">
                <a:solidFill>
                  <a:srgbClr val="00B0F0"/>
                </a:solidFill>
                <a:latin typeface="Times New Roman" panose="02020603050405020304" pitchFamily="18" charset="0"/>
                <a:ea typeface="Calibri" panose="020F0502020204030204" pitchFamily="34" charset="0"/>
              </a:rPr>
              <a:t> Nam </a:t>
            </a:r>
            <a:r>
              <a:rPr lang="en-US" b="1" i="1" dirty="0" err="1">
                <a:solidFill>
                  <a:srgbClr val="00B0F0"/>
                </a:solidFill>
                <a:latin typeface="Times New Roman" panose="02020603050405020304" pitchFamily="18" charset="0"/>
                <a:ea typeface="Calibri" panose="020F0502020204030204" pitchFamily="34" charset="0"/>
              </a:rPr>
              <a:t>giới</a:t>
            </a:r>
            <a:r>
              <a:rPr lang="en-US" b="1" i="1" dirty="0">
                <a:solidFill>
                  <a:srgbClr val="00B0F0"/>
                </a:solidFill>
                <a:latin typeface="Times New Roman" panose="02020603050405020304" pitchFamily="18" charset="0"/>
                <a:ea typeface="Calibri" panose="020F0502020204030204" pitchFamily="34" charset="0"/>
              </a:rPr>
              <a:t>”</a:t>
            </a:r>
          </a:p>
        </p:txBody>
      </p:sp>
    </p:spTree>
    <p:extLst>
      <p:ext uri="{BB962C8B-B14F-4D97-AF65-F5344CB8AC3E}">
        <p14:creationId xmlns:p14="http://schemas.microsoft.com/office/powerpoint/2010/main" val="40019248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C518AC-2842-40B5-B1B3-26649AE30315}"/>
              </a:ext>
            </a:extLst>
          </p:cNvPr>
          <p:cNvSpPr/>
          <p:nvPr/>
        </p:nvSpPr>
        <p:spPr>
          <a:xfrm>
            <a:off x="-22940" y="310240"/>
            <a:ext cx="12191999" cy="553998"/>
          </a:xfrm>
          <a:prstGeom prst="rect">
            <a:avLst/>
          </a:prstGeom>
        </p:spPr>
        <p:txBody>
          <a:bodyPr wrap="square">
            <a:spAutoFit/>
          </a:bodyPr>
          <a:lstStyle/>
          <a:p>
            <a:pPr lvl="0" algn="ctr">
              <a:defRPr>
                <a:uFillTx/>
              </a:defRPr>
            </a:pPr>
            <a:r>
              <a:rPr lang="en-US" sz="3000" b="1" dirty="0">
                <a:solidFill>
                  <a:srgbClr val="164397"/>
                </a:solidFill>
                <a:latin typeface="HelveticaBlackVU" panose="00000900000000000000" pitchFamily="2" charset="0"/>
              </a:rPr>
              <a:t>BÀI HỌC VỀ BÌNH ĐẲNG GIỚI TRONG EVN</a:t>
            </a:r>
          </a:p>
        </p:txBody>
      </p:sp>
      <p:grpSp>
        <p:nvGrpSpPr>
          <p:cNvPr id="9" name="Group 8">
            <a:extLst>
              <a:ext uri="{FF2B5EF4-FFF2-40B4-BE49-F238E27FC236}">
                <a16:creationId xmlns:a16="http://schemas.microsoft.com/office/drawing/2014/main" id="{5901D1F2-8268-41CC-AA65-E99483059161}"/>
              </a:ext>
            </a:extLst>
          </p:cNvPr>
          <p:cNvGrpSpPr/>
          <p:nvPr/>
        </p:nvGrpSpPr>
        <p:grpSpPr>
          <a:xfrm>
            <a:off x="5346478" y="891623"/>
            <a:ext cx="1369406" cy="36576"/>
            <a:chOff x="1775295" y="2020905"/>
            <a:chExt cx="3631535" cy="45719"/>
          </a:xfrm>
        </p:grpSpPr>
        <p:sp>
          <p:nvSpPr>
            <p:cNvPr id="10" name="Rectangle 9">
              <a:extLst>
                <a:ext uri="{FF2B5EF4-FFF2-40B4-BE49-F238E27FC236}">
                  <a16:creationId xmlns:a16="http://schemas.microsoft.com/office/drawing/2014/main" id="{25E54AB7-0333-46CC-962B-C58CBFFB7B3F}"/>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3BBADC2D-CBDD-4D63-AF11-E3E220E8DC4B}"/>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8DD4C835-6AA2-47DE-954F-CB399CD808D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553EBEF8-D940-4452-B71D-3AE4F541D154}"/>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944C6C1D-C6F7-4259-8911-BB27A3415C35}"/>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64D9C333-9BA0-47E0-B5DF-8AB778361023}"/>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Times New Roman" panose="02020603050405020304" pitchFamily="18" charset="0"/>
                <a:cs typeface="Times New Roman" panose="02020603050405020304" pitchFamily="18" charset="0"/>
              </a:endParaRPr>
            </a:p>
          </p:txBody>
        </p:sp>
      </p:grpSp>
      <p:sp>
        <p:nvSpPr>
          <p:cNvPr id="37" name="Rounded Rectangle 27">
            <a:extLst>
              <a:ext uri="{FF2B5EF4-FFF2-40B4-BE49-F238E27FC236}">
                <a16:creationId xmlns:a16="http://schemas.microsoft.com/office/drawing/2014/main" id="{1D4EECB2-6C07-42C4-BCB8-99ED7F103DCA}"/>
              </a:ext>
            </a:extLst>
          </p:cNvPr>
          <p:cNvSpPr/>
          <p:nvPr/>
        </p:nvSpPr>
        <p:spPr>
          <a:xfrm>
            <a:off x="3249251" y="1606510"/>
            <a:ext cx="317145" cy="243610"/>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ed Rectangle 7">
            <a:extLst>
              <a:ext uri="{FF2B5EF4-FFF2-40B4-BE49-F238E27FC236}">
                <a16:creationId xmlns:a16="http://schemas.microsoft.com/office/drawing/2014/main" id="{7F03AA58-414C-4784-AE5A-B3078E2AD0B1}"/>
              </a:ext>
            </a:extLst>
          </p:cNvPr>
          <p:cNvSpPr/>
          <p:nvPr/>
        </p:nvSpPr>
        <p:spPr>
          <a:xfrm>
            <a:off x="3240089" y="3439249"/>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pic>
        <p:nvPicPr>
          <p:cNvPr id="40" name="Picture 2" descr="D:\backup07102013\o dia D\O D xin\logo EVN.jpg">
            <a:extLst>
              <a:ext uri="{FF2B5EF4-FFF2-40B4-BE49-F238E27FC236}">
                <a16:creationId xmlns:a16="http://schemas.microsoft.com/office/drawing/2014/main" id="{35B6E08A-CF6A-46F8-846A-2441013A737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TextBox 42">
            <a:extLst>
              <a:ext uri="{FF2B5EF4-FFF2-40B4-BE49-F238E27FC236}">
                <a16:creationId xmlns:a16="http://schemas.microsoft.com/office/drawing/2014/main" id="{7B948166-1D35-404D-8B93-E8055D79B2AD}"/>
              </a:ext>
            </a:extLst>
          </p:cNvPr>
          <p:cNvSpPr txBox="1"/>
          <p:nvPr/>
        </p:nvSpPr>
        <p:spPr>
          <a:xfrm>
            <a:off x="569817" y="1266216"/>
            <a:ext cx="11006487" cy="1631216"/>
          </a:xfrm>
          <a:prstGeom prst="rect">
            <a:avLst/>
          </a:prstGeom>
          <a:noFill/>
        </p:spPr>
        <p:txBody>
          <a:bodyPr wrap="square" rtlCol="0" anchor="t">
            <a:spAutoFit/>
          </a:bodyPr>
          <a:lstStyle/>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Nắ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ữ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óa</a:t>
            </a:r>
            <a:r>
              <a:rPr lang="en-US" sz="2000" b="1" dirty="0">
                <a:solidFill>
                  <a:srgbClr val="0070C0"/>
                </a:solidFill>
                <a:latin typeface="Times New Roman" panose="02020603050405020304" pitchFamily="18" charset="0"/>
                <a:ea typeface="Calibri" panose="020F0502020204030204" pitchFamily="34" charset="0"/>
              </a:rPr>
              <a:t> EVN</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Mô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ườ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ợ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chia </a:t>
            </a:r>
            <a:r>
              <a:rPr lang="en-US" sz="2000" b="1" dirty="0" err="1">
                <a:solidFill>
                  <a:srgbClr val="0070C0"/>
                </a:solidFill>
                <a:latin typeface="Times New Roman" panose="02020603050405020304" pitchFamily="18" charset="0"/>
                <a:ea typeface="Calibri" panose="020F0502020204030204" pitchFamily="34" charset="0"/>
              </a:rPr>
              <a:t>sẻ</a:t>
            </a:r>
            <a:endParaRPr lang="en-US" sz="20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r>
              <a:rPr lang="en-US" sz="2000" b="1" dirty="0">
                <a:solidFill>
                  <a:srgbClr val="0070C0"/>
                </a:solidFill>
                <a:latin typeface="Times New Roman" panose="02020603050405020304" pitchFamily="18" charset="0"/>
                <a:ea typeface="Calibri" panose="020F0502020204030204" pitchFamily="34" charset="0"/>
              </a:rPr>
              <a:t>Quan </a:t>
            </a:r>
            <a:r>
              <a:rPr lang="en-US" sz="2000" b="1" dirty="0" err="1">
                <a:solidFill>
                  <a:srgbClr val="0070C0"/>
                </a:solidFill>
                <a:latin typeface="Times New Roman" panose="02020603050405020304" pitchFamily="18" charset="0"/>
                <a:ea typeface="Calibri" panose="020F0502020204030204" pitchFamily="34" charset="0"/>
              </a:rPr>
              <a:t>tâ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á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iệ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ứ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ầu</a:t>
            </a:r>
            <a:r>
              <a:rPr lang="en-US" sz="2000" b="1" dirty="0">
                <a:solidFill>
                  <a:srgbClr val="0070C0"/>
                </a:solidFill>
                <a:latin typeface="Times New Roman" panose="02020603050405020304" pitchFamily="18" charset="0"/>
                <a:ea typeface="Calibri" panose="020F0502020204030204" pitchFamily="34" charset="0"/>
              </a:rPr>
              <a:t> ở 4 </a:t>
            </a:r>
            <a:r>
              <a:rPr lang="en-US" sz="2000" b="1" dirty="0" err="1">
                <a:solidFill>
                  <a:srgbClr val="0070C0"/>
                </a:solidFill>
                <a:latin typeface="Times New Roman" panose="02020603050405020304" pitchFamily="18" charset="0"/>
                <a:ea typeface="Calibri" panose="020F0502020204030204" pitchFamily="34" charset="0"/>
              </a:rPr>
              <a:t>cấ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ừ</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ổ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ty/ Công ty/ Điện lực/ </a:t>
            </a:r>
            <a:r>
              <a:rPr lang="en-US" sz="2000" b="1" dirty="0" err="1">
                <a:solidFill>
                  <a:srgbClr val="0070C0"/>
                </a:solidFill>
                <a:latin typeface="Times New Roman" panose="02020603050405020304" pitchFamily="18" charset="0"/>
                <a:ea typeface="Calibri" panose="020F0502020204030204" pitchFamily="34" charset="0"/>
              </a:rPr>
              <a:t>Truyề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ả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Xưởng</a:t>
            </a:r>
            <a:r>
              <a:rPr lang="en-US" sz="2000" b="1" dirty="0">
                <a:solidFill>
                  <a:srgbClr val="0070C0"/>
                </a:solidFill>
                <a:latin typeface="Times New Roman" panose="02020603050405020304" pitchFamily="18" charset="0"/>
                <a:ea typeface="Calibri" panose="020F0502020204030204" pitchFamily="34" charset="0"/>
              </a:rPr>
              <a:t> đội.</a:t>
            </a:r>
          </a:p>
        </p:txBody>
      </p:sp>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7750" y="3150100"/>
            <a:ext cx="5205917" cy="3067050"/>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253882" y="3150101"/>
            <a:ext cx="5398189" cy="3067050"/>
          </a:xfrm>
          <a:prstGeom prst="rect">
            <a:avLst/>
          </a:prstGeom>
        </p:spPr>
      </p:pic>
    </p:spTree>
    <p:extLst>
      <p:ext uri="{BB962C8B-B14F-4D97-AF65-F5344CB8AC3E}">
        <p14:creationId xmlns:p14="http://schemas.microsoft.com/office/powerpoint/2010/main" val="39051070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stars in the sky&#10;&#10;Description automatically generated with low confidence">
            <a:extLst>
              <a:ext uri="{FF2B5EF4-FFF2-40B4-BE49-F238E27FC236}">
                <a16:creationId xmlns:a16="http://schemas.microsoft.com/office/drawing/2014/main" id="{E70DA802-D73D-4B1D-9088-C7F287EC801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22849" y="2308031"/>
            <a:ext cx="6491045" cy="4593771"/>
          </a:xfrm>
          <a:custGeom>
            <a:avLst/>
            <a:gdLst/>
            <a:ahLst/>
            <a:cxnLst/>
            <a:rect l="l" t="t" r="r" b="b"/>
            <a:pathLst>
              <a:path w="8301112" h="5874772">
                <a:moveTo>
                  <a:pt x="3607511" y="0"/>
                </a:moveTo>
                <a:cubicBezTo>
                  <a:pt x="3607511" y="0"/>
                  <a:pt x="3607511" y="0"/>
                  <a:pt x="8106431" y="0"/>
                </a:cubicBezTo>
                <a:lnTo>
                  <a:pt x="8301112" y="0"/>
                </a:lnTo>
                <a:lnTo>
                  <a:pt x="8301112" y="5874772"/>
                </a:lnTo>
                <a:lnTo>
                  <a:pt x="27685" y="5874772"/>
                </a:lnTo>
                <a:lnTo>
                  <a:pt x="24376" y="5862584"/>
                </a:lnTo>
                <a:cubicBezTo>
                  <a:pt x="-24375" y="5631005"/>
                  <a:pt x="0" y="5362863"/>
                  <a:pt x="97502" y="5167850"/>
                </a:cubicBezTo>
                <a:cubicBezTo>
                  <a:pt x="97502" y="5167850"/>
                  <a:pt x="97502" y="5167850"/>
                  <a:pt x="2827510" y="438782"/>
                </a:cubicBezTo>
                <a:cubicBezTo>
                  <a:pt x="2973760" y="195014"/>
                  <a:pt x="3331265" y="0"/>
                  <a:pt x="3607511" y="0"/>
                </a:cubicBezTo>
                <a:close/>
              </a:path>
            </a:pathLst>
          </a:custGeom>
        </p:spPr>
      </p:pic>
      <p:pic>
        <p:nvPicPr>
          <p:cNvPr id="14" name="Picture 13">
            <a:extLst>
              <a:ext uri="{FF2B5EF4-FFF2-40B4-BE49-F238E27FC236}">
                <a16:creationId xmlns:a16="http://schemas.microsoft.com/office/drawing/2014/main" id="{CA19E306-D299-4853-8ABB-87738D40B77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66700" y="480486"/>
            <a:ext cx="5342805" cy="4453168"/>
          </a:xfrm>
          <a:custGeom>
            <a:avLst/>
            <a:gdLst/>
            <a:ahLst/>
            <a:cxnLst/>
            <a:rect l="l" t="t" r="r" b="b"/>
            <a:pathLst>
              <a:path w="5846002" h="4872577">
                <a:moveTo>
                  <a:pt x="343285" y="2953992"/>
                </a:moveTo>
                <a:cubicBezTo>
                  <a:pt x="343285" y="2953992"/>
                  <a:pt x="343285" y="2953992"/>
                  <a:pt x="849063" y="2953992"/>
                </a:cubicBezTo>
                <a:cubicBezTo>
                  <a:pt x="880743" y="2953992"/>
                  <a:pt x="911330" y="2971406"/>
                  <a:pt x="926624" y="2999703"/>
                </a:cubicBezTo>
                <a:cubicBezTo>
                  <a:pt x="926624" y="2999703"/>
                  <a:pt x="926624" y="2999703"/>
                  <a:pt x="1180059" y="3436136"/>
                </a:cubicBezTo>
                <a:cubicBezTo>
                  <a:pt x="1196445" y="3463345"/>
                  <a:pt x="1196445" y="3498172"/>
                  <a:pt x="1180059" y="3525382"/>
                </a:cubicBezTo>
                <a:cubicBezTo>
                  <a:pt x="1180059" y="3525382"/>
                  <a:pt x="1180059" y="3525382"/>
                  <a:pt x="926624" y="3961814"/>
                </a:cubicBezTo>
                <a:cubicBezTo>
                  <a:pt x="911330" y="3990111"/>
                  <a:pt x="880743" y="4007525"/>
                  <a:pt x="849063" y="4007525"/>
                </a:cubicBezTo>
                <a:cubicBezTo>
                  <a:pt x="849063" y="4007525"/>
                  <a:pt x="849063" y="4007525"/>
                  <a:pt x="343285" y="4007525"/>
                </a:cubicBezTo>
                <a:cubicBezTo>
                  <a:pt x="310513" y="4007525"/>
                  <a:pt x="281019" y="3990111"/>
                  <a:pt x="264633" y="3961814"/>
                </a:cubicBezTo>
                <a:cubicBezTo>
                  <a:pt x="264633" y="3961814"/>
                  <a:pt x="264633" y="3961814"/>
                  <a:pt x="12290" y="3525382"/>
                </a:cubicBezTo>
                <a:cubicBezTo>
                  <a:pt x="-4096" y="3498172"/>
                  <a:pt x="-4096" y="3463345"/>
                  <a:pt x="12290" y="3436136"/>
                </a:cubicBezTo>
                <a:cubicBezTo>
                  <a:pt x="12290" y="3436136"/>
                  <a:pt x="12290" y="3436136"/>
                  <a:pt x="264633" y="2999703"/>
                </a:cubicBezTo>
                <a:cubicBezTo>
                  <a:pt x="281019" y="2971406"/>
                  <a:pt x="310513" y="2953992"/>
                  <a:pt x="343285" y="2953992"/>
                </a:cubicBezTo>
                <a:close/>
                <a:moveTo>
                  <a:pt x="2353334" y="538808"/>
                </a:moveTo>
                <a:cubicBezTo>
                  <a:pt x="2353334" y="538808"/>
                  <a:pt x="2353334" y="538808"/>
                  <a:pt x="2613403" y="538808"/>
                </a:cubicBezTo>
                <a:lnTo>
                  <a:pt x="2643742" y="538808"/>
                </a:lnTo>
                <a:lnTo>
                  <a:pt x="2672692" y="588661"/>
                </a:lnTo>
                <a:cubicBezTo>
                  <a:pt x="2713002" y="658078"/>
                  <a:pt x="2759909" y="738855"/>
                  <a:pt x="2814491" y="832849"/>
                </a:cubicBezTo>
                <a:cubicBezTo>
                  <a:pt x="2839586" y="874521"/>
                  <a:pt x="2839586" y="927860"/>
                  <a:pt x="2814491" y="969531"/>
                </a:cubicBezTo>
                <a:cubicBezTo>
                  <a:pt x="2814491" y="969531"/>
                  <a:pt x="2814491" y="969531"/>
                  <a:pt x="2426350" y="1637936"/>
                </a:cubicBezTo>
                <a:cubicBezTo>
                  <a:pt x="2402927" y="1681274"/>
                  <a:pt x="2356083" y="1707943"/>
                  <a:pt x="2307565" y="1707943"/>
                </a:cubicBezTo>
                <a:cubicBezTo>
                  <a:pt x="2307565" y="1707943"/>
                  <a:pt x="2307565" y="1707943"/>
                  <a:pt x="1532956" y="1707943"/>
                </a:cubicBezTo>
                <a:cubicBezTo>
                  <a:pt x="1520409" y="1707943"/>
                  <a:pt x="1508175" y="1706276"/>
                  <a:pt x="1496490" y="1703099"/>
                </a:cubicBezTo>
                <a:lnTo>
                  <a:pt x="1471408" y="1692583"/>
                </a:lnTo>
                <a:lnTo>
                  <a:pt x="1486736" y="1666073"/>
                </a:lnTo>
                <a:cubicBezTo>
                  <a:pt x="1625328" y="1426376"/>
                  <a:pt x="1802725" y="1119564"/>
                  <a:pt x="2029793" y="726844"/>
                </a:cubicBezTo>
                <a:cubicBezTo>
                  <a:pt x="2097197" y="610441"/>
                  <a:pt x="2218525" y="538808"/>
                  <a:pt x="2353334" y="538808"/>
                </a:cubicBezTo>
                <a:close/>
                <a:moveTo>
                  <a:pt x="1487085" y="0"/>
                </a:moveTo>
                <a:cubicBezTo>
                  <a:pt x="1487085" y="0"/>
                  <a:pt x="1487085" y="0"/>
                  <a:pt x="2360840" y="0"/>
                </a:cubicBezTo>
                <a:cubicBezTo>
                  <a:pt x="2415568" y="0"/>
                  <a:pt x="2468407" y="30084"/>
                  <a:pt x="2494828" y="78969"/>
                </a:cubicBezTo>
                <a:cubicBezTo>
                  <a:pt x="2494828" y="78969"/>
                  <a:pt x="2494828" y="78969"/>
                  <a:pt x="2729665" y="483373"/>
                </a:cubicBezTo>
                <a:lnTo>
                  <a:pt x="2756194" y="529058"/>
                </a:lnTo>
                <a:lnTo>
                  <a:pt x="2735320" y="529058"/>
                </a:lnTo>
                <a:lnTo>
                  <a:pt x="2636659" y="529058"/>
                </a:lnTo>
                <a:lnTo>
                  <a:pt x="2593799" y="455250"/>
                </a:lnTo>
                <a:cubicBezTo>
                  <a:pt x="2430052" y="173267"/>
                  <a:pt x="2430052" y="173267"/>
                  <a:pt x="2430052" y="173267"/>
                </a:cubicBezTo>
                <a:cubicBezTo>
                  <a:pt x="2406629" y="129929"/>
                  <a:pt x="2359785" y="103259"/>
                  <a:pt x="2311267" y="103259"/>
                </a:cubicBezTo>
                <a:cubicBezTo>
                  <a:pt x="1536658" y="103259"/>
                  <a:pt x="1536658" y="103259"/>
                  <a:pt x="1536658" y="103259"/>
                </a:cubicBezTo>
                <a:cubicBezTo>
                  <a:pt x="1486468" y="103259"/>
                  <a:pt x="1441296" y="129929"/>
                  <a:pt x="1416201" y="173267"/>
                </a:cubicBezTo>
                <a:cubicBezTo>
                  <a:pt x="1029733" y="841671"/>
                  <a:pt x="1029733" y="841671"/>
                  <a:pt x="1029733" y="841671"/>
                </a:cubicBezTo>
                <a:cubicBezTo>
                  <a:pt x="1004637" y="883343"/>
                  <a:pt x="1004637" y="936682"/>
                  <a:pt x="1029733" y="978353"/>
                </a:cubicBezTo>
                <a:cubicBezTo>
                  <a:pt x="1416201" y="1646758"/>
                  <a:pt x="1416201" y="1646758"/>
                  <a:pt x="1416201" y="1646758"/>
                </a:cubicBezTo>
                <a:cubicBezTo>
                  <a:pt x="1428749" y="1668427"/>
                  <a:pt x="1446315" y="1685929"/>
                  <a:pt x="1467019" y="1698013"/>
                </a:cubicBezTo>
                <a:lnTo>
                  <a:pt x="1472899" y="1700478"/>
                </a:lnTo>
                <a:lnTo>
                  <a:pt x="1441377" y="1754996"/>
                </a:lnTo>
                <a:lnTo>
                  <a:pt x="1417933" y="1795543"/>
                </a:lnTo>
                <a:lnTo>
                  <a:pt x="1442249" y="1805738"/>
                </a:lnTo>
                <a:cubicBezTo>
                  <a:pt x="1455430" y="1809322"/>
                  <a:pt x="1469230" y="1811202"/>
                  <a:pt x="1483383" y="1811202"/>
                </a:cubicBezTo>
                <a:cubicBezTo>
                  <a:pt x="2357138" y="1811202"/>
                  <a:pt x="2357138" y="1811202"/>
                  <a:pt x="2357138" y="1811202"/>
                </a:cubicBezTo>
                <a:cubicBezTo>
                  <a:pt x="2411866" y="1811202"/>
                  <a:pt x="2464705" y="1781120"/>
                  <a:pt x="2491126" y="1732235"/>
                </a:cubicBezTo>
                <a:cubicBezTo>
                  <a:pt x="2928947" y="978278"/>
                  <a:pt x="2928947" y="978278"/>
                  <a:pt x="2928947" y="978278"/>
                </a:cubicBezTo>
                <a:cubicBezTo>
                  <a:pt x="2957254" y="931274"/>
                  <a:pt x="2957254" y="871108"/>
                  <a:pt x="2928947" y="824102"/>
                </a:cubicBezTo>
                <a:cubicBezTo>
                  <a:pt x="2874220" y="729858"/>
                  <a:pt x="2826333" y="647394"/>
                  <a:pt x="2784432" y="575238"/>
                </a:cubicBezTo>
                <a:lnTo>
                  <a:pt x="2763277" y="538808"/>
                </a:lnTo>
                <a:lnTo>
                  <a:pt x="2861280" y="538808"/>
                </a:lnTo>
                <a:cubicBezTo>
                  <a:pt x="3166048" y="538808"/>
                  <a:pt x="3653676" y="538808"/>
                  <a:pt x="4433881" y="538808"/>
                </a:cubicBezTo>
                <a:cubicBezTo>
                  <a:pt x="4564197" y="538808"/>
                  <a:pt x="4690018" y="610441"/>
                  <a:pt x="4752929" y="726844"/>
                </a:cubicBezTo>
                <a:cubicBezTo>
                  <a:pt x="4752929" y="726844"/>
                  <a:pt x="4752929" y="726844"/>
                  <a:pt x="5795449" y="2522134"/>
                </a:cubicBezTo>
                <a:cubicBezTo>
                  <a:pt x="5862854" y="2634060"/>
                  <a:pt x="5862854" y="2777325"/>
                  <a:pt x="5795449" y="2889251"/>
                </a:cubicBezTo>
                <a:cubicBezTo>
                  <a:pt x="5795449" y="2889251"/>
                  <a:pt x="5795449" y="2889251"/>
                  <a:pt x="4752929" y="4684542"/>
                </a:cubicBezTo>
                <a:cubicBezTo>
                  <a:pt x="4690018" y="4800945"/>
                  <a:pt x="4564197" y="4872577"/>
                  <a:pt x="4433881" y="4872577"/>
                </a:cubicBezTo>
                <a:cubicBezTo>
                  <a:pt x="4433881" y="4872577"/>
                  <a:pt x="4433881" y="4872577"/>
                  <a:pt x="2353334" y="4872577"/>
                </a:cubicBezTo>
                <a:cubicBezTo>
                  <a:pt x="2218525" y="4872577"/>
                  <a:pt x="2097197" y="4800945"/>
                  <a:pt x="2029793" y="4684542"/>
                </a:cubicBezTo>
                <a:cubicBezTo>
                  <a:pt x="2029793" y="4684542"/>
                  <a:pt x="2029793" y="4684542"/>
                  <a:pt x="991766" y="2889251"/>
                </a:cubicBezTo>
                <a:cubicBezTo>
                  <a:pt x="924361" y="2777325"/>
                  <a:pt x="924361" y="2634060"/>
                  <a:pt x="991766" y="2522134"/>
                </a:cubicBezTo>
                <a:cubicBezTo>
                  <a:pt x="991766" y="2522134"/>
                  <a:pt x="991766" y="2522134"/>
                  <a:pt x="1377193" y="1855530"/>
                </a:cubicBezTo>
                <a:lnTo>
                  <a:pt x="1409676" y="1799352"/>
                </a:lnTo>
                <a:lnTo>
                  <a:pt x="1408533" y="1798873"/>
                </a:lnTo>
                <a:cubicBezTo>
                  <a:pt x="1385179" y="1785241"/>
                  <a:pt x="1365364" y="1765500"/>
                  <a:pt x="1351210" y="1741057"/>
                </a:cubicBezTo>
                <a:cubicBezTo>
                  <a:pt x="1351210" y="1741057"/>
                  <a:pt x="1351210" y="1741057"/>
                  <a:pt x="915276" y="987100"/>
                </a:cubicBezTo>
                <a:cubicBezTo>
                  <a:pt x="886968" y="940096"/>
                  <a:pt x="886968" y="879930"/>
                  <a:pt x="915276" y="832924"/>
                </a:cubicBezTo>
                <a:cubicBezTo>
                  <a:pt x="915276" y="832924"/>
                  <a:pt x="915276" y="832924"/>
                  <a:pt x="1351210" y="78969"/>
                </a:cubicBezTo>
                <a:cubicBezTo>
                  <a:pt x="1379517" y="30084"/>
                  <a:pt x="1430471" y="0"/>
                  <a:pt x="1487085" y="0"/>
                </a:cubicBezTo>
                <a:close/>
              </a:path>
            </a:pathLst>
          </a:custGeom>
        </p:spPr>
      </p:pic>
      <p:sp>
        <p:nvSpPr>
          <p:cNvPr id="11" name="TextBox 10">
            <a:extLst>
              <a:ext uri="{FF2B5EF4-FFF2-40B4-BE49-F238E27FC236}">
                <a16:creationId xmlns:a16="http://schemas.microsoft.com/office/drawing/2014/main" id="{DA63AA2F-ED04-42FB-AC7B-A493DE91ECD6}"/>
              </a:ext>
            </a:extLst>
          </p:cNvPr>
          <p:cNvSpPr txBox="1">
            <a:spLocks noChangeArrowheads="1"/>
          </p:cNvSpPr>
          <p:nvPr/>
        </p:nvSpPr>
        <p:spPr bwMode="auto">
          <a:xfrm>
            <a:off x="5029706" y="3117384"/>
            <a:ext cx="5007597"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sz="9600" b="1" dirty="0">
                <a:solidFill>
                  <a:srgbClr val="002060"/>
                </a:solidFill>
                <a:effectLst>
                  <a:outerShdw blurRad="38100" dist="38100" dir="2700000" algn="tl">
                    <a:srgbClr val="000000">
                      <a:alpha val="43137"/>
                    </a:srgbClr>
                  </a:outerShdw>
                </a:effectLst>
                <a:latin typeface="Edwardian Script ITC" panose="030303020407070D0804" pitchFamily="66" charset="0"/>
              </a:rPr>
              <a:t>Thank You!</a:t>
            </a:r>
          </a:p>
        </p:txBody>
      </p:sp>
      <p:pic>
        <p:nvPicPr>
          <p:cNvPr id="28" name="Picture 2" descr="D:\backup07102013\o dia D\O D xin\logo EVN.jpg">
            <a:extLst>
              <a:ext uri="{FF2B5EF4-FFF2-40B4-BE49-F238E27FC236}">
                <a16:creationId xmlns:a16="http://schemas.microsoft.com/office/drawing/2014/main" id="{9AE13B6F-B87A-4EE7-907A-3D21ACE272E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b="-6"/>
          <a:stretch>
            <a:fillRect/>
          </a:stretch>
        </p:blipFill>
        <p:spPr bwMode="auto">
          <a:xfrm>
            <a:off x="98559" y="60229"/>
            <a:ext cx="1024728" cy="105258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9370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1" nodeType="clickEffect">
                                  <p:stCondLst>
                                    <p:cond delay="0"/>
                                  </p:stCondLst>
                                  <p:childTnLst>
                                    <p:animScale>
                                      <p:cBhvr>
                                        <p:cTn id="14" dur="2000" fill="hold"/>
                                        <p:tgtEl>
                                          <p:spTgt spid="1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192CEEF7-28CF-4D44-A916-C456691C3C00}"/>
              </a:ext>
            </a:extLst>
          </p:cNvPr>
          <p:cNvGrpSpPr/>
          <p:nvPr/>
        </p:nvGrpSpPr>
        <p:grpSpPr>
          <a:xfrm>
            <a:off x="4725128" y="811651"/>
            <a:ext cx="1369407" cy="36576"/>
            <a:chOff x="1775295" y="2020905"/>
            <a:chExt cx="3631535" cy="45719"/>
          </a:xfrm>
        </p:grpSpPr>
        <p:sp>
          <p:nvSpPr>
            <p:cNvPr id="62" name="Rectangle 61">
              <a:extLst>
                <a:ext uri="{FF2B5EF4-FFF2-40B4-BE49-F238E27FC236}">
                  <a16:creationId xmlns:a16="http://schemas.microsoft.com/office/drawing/2014/main" id="{5CD9F519-8E14-4238-AFB2-4DF2FF2C1D67}"/>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4DE09F9F-4662-48D4-921D-CFBB72F9CFB5}"/>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5A2C8CFC-77D5-4605-AFBE-AF017BC71074}"/>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5" name="Rectangle 64">
              <a:extLst>
                <a:ext uri="{FF2B5EF4-FFF2-40B4-BE49-F238E27FC236}">
                  <a16:creationId xmlns:a16="http://schemas.microsoft.com/office/drawing/2014/main" id="{435F4AC0-ADB0-4739-A14F-5A6A40A5116C}"/>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Rectangle 65">
              <a:extLst>
                <a:ext uri="{FF2B5EF4-FFF2-40B4-BE49-F238E27FC236}">
                  <a16:creationId xmlns:a16="http://schemas.microsoft.com/office/drawing/2014/main" id="{C52640EC-1668-41EE-B721-169B827B389D}"/>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7" name="Rectangle 66">
              <a:extLst>
                <a:ext uri="{FF2B5EF4-FFF2-40B4-BE49-F238E27FC236}">
                  <a16:creationId xmlns:a16="http://schemas.microsoft.com/office/drawing/2014/main" id="{F58C86DE-C08E-427F-82AB-4EE10B958C12}"/>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68" name="Rectangle 67">
            <a:extLst>
              <a:ext uri="{FF2B5EF4-FFF2-40B4-BE49-F238E27FC236}">
                <a16:creationId xmlns:a16="http://schemas.microsoft.com/office/drawing/2014/main" id="{E5E86319-6445-4E8C-84D1-BE5CCCF96D2D}"/>
              </a:ext>
            </a:extLst>
          </p:cNvPr>
          <p:cNvSpPr/>
          <p:nvPr/>
        </p:nvSpPr>
        <p:spPr>
          <a:xfrm>
            <a:off x="-514662" y="231363"/>
            <a:ext cx="12191999" cy="461665"/>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kumimoji="0" lang="en-US" sz="24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rPr>
              <a:t>CƠ</a:t>
            </a:r>
            <a:r>
              <a:rPr kumimoji="0" lang="en-US" sz="2400" b="1" i="0" u="none" strike="noStrike" kern="1200" cap="none" spc="0" normalizeH="0" noProof="0" dirty="0">
                <a:ln>
                  <a:noFill/>
                </a:ln>
                <a:solidFill>
                  <a:srgbClr val="164397"/>
                </a:solidFill>
                <a:effectLst/>
                <a:uLnTx/>
                <a:uFillTx/>
                <a:latin typeface="HelveticaBlackVU" panose="00000900000000000000" pitchFamily="2" charset="0"/>
                <a:ea typeface="+mn-ea"/>
                <a:cs typeface="+mn-cs"/>
              </a:rPr>
              <a:t> CẤU TỔ CHỨC &amp; LAO ĐỘNG CỦA EVN</a:t>
            </a:r>
            <a:endParaRPr kumimoji="0" lang="en-US" sz="24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endParaRPr>
          </a:p>
        </p:txBody>
      </p:sp>
      <p:pic>
        <p:nvPicPr>
          <p:cNvPr id="169" name="Picture 2" descr="D:\backup07102013\o dia D\O D xin\logo EVN.jpg">
            <a:extLst>
              <a:ext uri="{FF2B5EF4-FFF2-40B4-BE49-F238E27FC236}">
                <a16:creationId xmlns:a16="http://schemas.microsoft.com/office/drawing/2014/main" id="{1199CC91-9822-4CC3-91D4-757DEDFD6F5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ound Same Side Corner Rectangle 7">
            <a:extLst>
              <a:ext uri="{FF2B5EF4-FFF2-40B4-BE49-F238E27FC236}">
                <a16:creationId xmlns:a16="http://schemas.microsoft.com/office/drawing/2014/main" id="{76E8F5C3-1A5A-415F-885A-29724D977362}"/>
              </a:ext>
            </a:extLst>
          </p:cNvPr>
          <p:cNvSpPr>
            <a:spLocks noChangeAspect="1"/>
          </p:cNvSpPr>
          <p:nvPr/>
        </p:nvSpPr>
        <p:spPr>
          <a:xfrm rot="10800000">
            <a:off x="1127492" y="3192150"/>
            <a:ext cx="318159" cy="334483"/>
          </a:xfrm>
          <a:custGeom>
            <a:avLst/>
            <a:gdLst/>
            <a:ahLst/>
            <a:cxnLst/>
            <a:rect l="l" t="t" r="r" b="b"/>
            <a:pathLst>
              <a:path w="3749229" h="3941586">
                <a:moveTo>
                  <a:pt x="1841173" y="2251014"/>
                </a:moveTo>
                <a:cubicBezTo>
                  <a:pt x="1901032" y="2251014"/>
                  <a:pt x="1949557" y="2202489"/>
                  <a:pt x="1949557" y="2142630"/>
                </a:cubicBezTo>
                <a:cubicBezTo>
                  <a:pt x="1949557" y="2082771"/>
                  <a:pt x="1901032" y="2034246"/>
                  <a:pt x="1841173" y="2034246"/>
                </a:cubicBezTo>
                <a:cubicBezTo>
                  <a:pt x="1781314" y="2034246"/>
                  <a:pt x="1732789" y="2082771"/>
                  <a:pt x="1732789" y="2142630"/>
                </a:cubicBezTo>
                <a:cubicBezTo>
                  <a:pt x="1732789" y="2202489"/>
                  <a:pt x="1781314" y="2251014"/>
                  <a:pt x="1841173" y="2251014"/>
                </a:cubicBezTo>
                <a:close/>
                <a:moveTo>
                  <a:pt x="2197713" y="2395667"/>
                </a:moveTo>
                <a:lnTo>
                  <a:pt x="1492210" y="2296503"/>
                </a:lnTo>
                <a:lnTo>
                  <a:pt x="1492210" y="2109382"/>
                </a:lnTo>
                <a:cubicBezTo>
                  <a:pt x="1492210" y="2024878"/>
                  <a:pt x="1583949" y="1956178"/>
                  <a:pt x="1697980" y="1955114"/>
                </a:cubicBezTo>
                <a:lnTo>
                  <a:pt x="1697980" y="1800200"/>
                </a:lnTo>
                <a:lnTo>
                  <a:pt x="1431133" y="1800200"/>
                </a:lnTo>
                <a:lnTo>
                  <a:pt x="1431133" y="1461593"/>
                </a:lnTo>
                <a:lnTo>
                  <a:pt x="643489" y="471679"/>
                </a:lnTo>
                <a:lnTo>
                  <a:pt x="785968" y="352125"/>
                </a:lnTo>
                <a:lnTo>
                  <a:pt x="1699128" y="1384562"/>
                </a:lnTo>
                <a:lnTo>
                  <a:pt x="1735187" y="0"/>
                </a:lnTo>
                <a:lnTo>
                  <a:pt x="1921179" y="0"/>
                </a:lnTo>
                <a:lnTo>
                  <a:pt x="1958328" y="1426402"/>
                </a:lnTo>
                <a:lnTo>
                  <a:pt x="1976872" y="1426402"/>
                </a:lnTo>
                <a:lnTo>
                  <a:pt x="1972364" y="1422619"/>
                </a:lnTo>
                <a:lnTo>
                  <a:pt x="2919184" y="352125"/>
                </a:lnTo>
                <a:lnTo>
                  <a:pt x="3061662" y="471679"/>
                </a:lnTo>
                <a:lnTo>
                  <a:pt x="2239212" y="1505339"/>
                </a:lnTo>
                <a:lnTo>
                  <a:pt x="2239212" y="1800200"/>
                </a:lnTo>
                <a:lnTo>
                  <a:pt x="1972364" y="1800200"/>
                </a:lnTo>
                <a:lnTo>
                  <a:pt x="1972364" y="1954485"/>
                </a:lnTo>
                <a:lnTo>
                  <a:pt x="1987720" y="1954485"/>
                </a:lnTo>
                <a:cubicBezTo>
                  <a:pt x="2103696" y="1954485"/>
                  <a:pt x="2197713" y="2023835"/>
                  <a:pt x="2197713" y="2109382"/>
                </a:cubicBezTo>
                <a:close/>
                <a:moveTo>
                  <a:pt x="112363" y="2735659"/>
                </a:moveTo>
                <a:cubicBezTo>
                  <a:pt x="100580" y="2737300"/>
                  <a:pt x="88281" y="2736658"/>
                  <a:pt x="76067" y="2733385"/>
                </a:cubicBezTo>
                <a:lnTo>
                  <a:pt x="67901" y="2731197"/>
                </a:lnTo>
                <a:cubicBezTo>
                  <a:pt x="19046" y="2718106"/>
                  <a:pt x="-9948" y="2667888"/>
                  <a:pt x="3143" y="2619032"/>
                </a:cubicBezTo>
                <a:lnTo>
                  <a:pt x="136132" y="2122709"/>
                </a:lnTo>
                <a:cubicBezTo>
                  <a:pt x="149223" y="2073853"/>
                  <a:pt x="199442" y="2044859"/>
                  <a:pt x="248297" y="2057950"/>
                </a:cubicBezTo>
                <a:lnTo>
                  <a:pt x="256463" y="2060138"/>
                </a:lnTo>
                <a:cubicBezTo>
                  <a:pt x="305319" y="2073229"/>
                  <a:pt x="334312" y="2123447"/>
                  <a:pt x="321221" y="2172303"/>
                </a:cubicBezTo>
                <a:lnTo>
                  <a:pt x="188232" y="2668627"/>
                </a:lnTo>
                <a:cubicBezTo>
                  <a:pt x="178414" y="2705268"/>
                  <a:pt x="147712" y="2730738"/>
                  <a:pt x="112363" y="2735659"/>
                </a:cubicBezTo>
                <a:close/>
                <a:moveTo>
                  <a:pt x="816379" y="2803284"/>
                </a:moveTo>
                <a:lnTo>
                  <a:pt x="296148" y="2663889"/>
                </a:lnTo>
                <a:lnTo>
                  <a:pt x="412311" y="2230363"/>
                </a:lnTo>
                <a:lnTo>
                  <a:pt x="932542" y="2369758"/>
                </a:lnTo>
                <a:close/>
                <a:moveTo>
                  <a:pt x="2025342" y="3266622"/>
                </a:moveTo>
                <a:lnTo>
                  <a:pt x="881030" y="2960004"/>
                </a:lnTo>
                <a:lnTo>
                  <a:pt x="1066890" y="2266362"/>
                </a:lnTo>
                <a:lnTo>
                  <a:pt x="2211202" y="2572980"/>
                </a:lnTo>
                <a:close/>
                <a:moveTo>
                  <a:pt x="2928285" y="3694425"/>
                </a:moveTo>
                <a:lnTo>
                  <a:pt x="2109557" y="3475047"/>
                </a:lnTo>
                <a:lnTo>
                  <a:pt x="2388347" y="2434586"/>
                </a:lnTo>
                <a:lnTo>
                  <a:pt x="3207076" y="2653963"/>
                </a:lnTo>
                <a:close/>
                <a:moveTo>
                  <a:pt x="3361202" y="3940500"/>
                </a:moveTo>
                <a:cubicBezTo>
                  <a:pt x="3346463" y="3942552"/>
                  <a:pt x="3331077" y="3941748"/>
                  <a:pt x="3315798" y="3937654"/>
                </a:cubicBezTo>
                <a:lnTo>
                  <a:pt x="3103596" y="3880795"/>
                </a:lnTo>
                <a:cubicBezTo>
                  <a:pt x="3042479" y="3864419"/>
                  <a:pt x="3006210" y="3801598"/>
                  <a:pt x="3022586" y="3740481"/>
                </a:cubicBezTo>
                <a:lnTo>
                  <a:pt x="3311771" y="2661227"/>
                </a:lnTo>
                <a:cubicBezTo>
                  <a:pt x="3328148" y="2600110"/>
                  <a:pt x="3390968" y="2563840"/>
                  <a:pt x="3452085" y="2580216"/>
                </a:cubicBezTo>
                <a:lnTo>
                  <a:pt x="3664287" y="2637076"/>
                </a:lnTo>
                <a:cubicBezTo>
                  <a:pt x="3725404" y="2653452"/>
                  <a:pt x="3761673" y="2716273"/>
                  <a:pt x="3745297" y="2777390"/>
                </a:cubicBezTo>
                <a:lnTo>
                  <a:pt x="3456112" y="3856644"/>
                </a:lnTo>
                <a:cubicBezTo>
                  <a:pt x="3443830" y="3902482"/>
                  <a:pt x="3405423" y="3934343"/>
                  <a:pt x="3361202" y="39405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맑은 고딕" panose="020B0503020000020004" pitchFamily="34" charset="-127"/>
              <a:cs typeface="+mn-cs"/>
            </a:endParaRPr>
          </a:p>
        </p:txBody>
      </p:sp>
      <p:sp>
        <p:nvSpPr>
          <p:cNvPr id="81" name="TextBox 52">
            <a:extLst>
              <a:ext uri="{FF2B5EF4-FFF2-40B4-BE49-F238E27FC236}">
                <a16:creationId xmlns:a16="http://schemas.microsoft.com/office/drawing/2014/main" id="{813D2F82-0976-4501-BD70-6B4EEB7D697D}"/>
              </a:ext>
            </a:extLst>
          </p:cNvPr>
          <p:cNvSpPr txBox="1"/>
          <p:nvPr/>
        </p:nvSpPr>
        <p:spPr>
          <a:xfrm>
            <a:off x="1682091" y="2203701"/>
            <a:ext cx="2828670" cy="43088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solidFill>
                  <a:srgbClr val="535353"/>
                </a:solidFill>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2200" b="1" i="1" u="none" strike="noStrike" kern="0" cap="none" spc="0" normalizeH="0" baseline="0" noProof="1">
              <a:ln>
                <a:noFill/>
              </a:ln>
              <a:solidFill>
                <a:srgbClr val="44546A"/>
              </a:solidFill>
              <a:effectLst/>
              <a:uLnTx/>
              <a:uFillTx/>
              <a:latin typeface="Times New Roman" panose="02020603050405020304" pitchFamily="18" charset="0"/>
              <a:ea typeface="+mn-ea"/>
              <a:cs typeface="Times New Roman" panose="02020603050405020304" pitchFamily="18" charset="0"/>
              <a:sym typeface="Avenir Next"/>
            </a:endParaRPr>
          </a:p>
        </p:txBody>
      </p:sp>
      <p:pic>
        <p:nvPicPr>
          <p:cNvPr id="31" name="Picture 2">
            <a:extLst>
              <a:ext uri="{FF2B5EF4-FFF2-40B4-BE49-F238E27FC236}">
                <a16:creationId xmlns:a16="http://schemas.microsoft.com/office/drawing/2014/main" id="{DA47142A-9B58-4738-9E44-E415F5893D4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844736" y="6836"/>
            <a:ext cx="2347262" cy="674927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BAB7C39E-00A5-464C-852D-C75EAF717E1F}"/>
              </a:ext>
            </a:extLst>
          </p:cNvPr>
          <p:cNvSpPr txBox="1"/>
          <p:nvPr/>
        </p:nvSpPr>
        <p:spPr>
          <a:xfrm>
            <a:off x="1127492" y="1284654"/>
            <a:ext cx="8564680" cy="43088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2200" b="1" dirty="0">
                <a:solidFill>
                  <a:srgbClr val="FF0000"/>
                </a:solidFill>
                <a:latin typeface="Times New Roman" panose="02020603050405020304" pitchFamily="18" charset="0"/>
              </a:rPr>
              <a:t>CƠ CẤU TỔ CHỨC: </a:t>
            </a:r>
            <a:r>
              <a:rPr lang="en-US" sz="2200" b="1" dirty="0" err="1">
                <a:solidFill>
                  <a:srgbClr val="FF0000"/>
                </a:solidFill>
                <a:latin typeface="Times New Roman" panose="02020603050405020304" pitchFamily="18" charset="0"/>
              </a:rPr>
              <a:t>Gồm</a:t>
            </a:r>
            <a:r>
              <a:rPr lang="en-US" sz="2200" b="1" dirty="0">
                <a:solidFill>
                  <a:srgbClr val="FF0000"/>
                </a:solidFill>
                <a:latin typeface="Times New Roman" panose="02020603050405020304" pitchFamily="18" charset="0"/>
              </a:rPr>
              <a:t> 4 </a:t>
            </a:r>
            <a:r>
              <a:rPr lang="en-US" sz="2200" b="1" dirty="0" err="1">
                <a:solidFill>
                  <a:srgbClr val="FF0000"/>
                </a:solidFill>
                <a:latin typeface="Times New Roman" panose="02020603050405020304" pitchFamily="18" charset="0"/>
              </a:rPr>
              <a:t>cấp</a:t>
            </a:r>
            <a:endParaRPr lang="en-US" sz="2200" b="1" dirty="0">
              <a:solidFill>
                <a:srgbClr val="FF0000"/>
              </a:solidFill>
              <a:latin typeface="Times New Roman" panose="02020603050405020304" pitchFamily="18" charset="0"/>
            </a:endParaRPr>
          </a:p>
        </p:txBody>
      </p:sp>
      <p:sp>
        <p:nvSpPr>
          <p:cNvPr id="26" name="TextBox 25">
            <a:extLst>
              <a:ext uri="{FF2B5EF4-FFF2-40B4-BE49-F238E27FC236}">
                <a16:creationId xmlns:a16="http://schemas.microsoft.com/office/drawing/2014/main" id="{BAB7C39E-00A5-464C-852D-C75EAF717E1F}"/>
              </a:ext>
            </a:extLst>
          </p:cNvPr>
          <p:cNvSpPr txBox="1"/>
          <p:nvPr/>
        </p:nvSpPr>
        <p:spPr>
          <a:xfrm>
            <a:off x="1034851" y="1852452"/>
            <a:ext cx="8321846" cy="5355312"/>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900" b="1" dirty="0" err="1">
                <a:solidFill>
                  <a:srgbClr val="0070C0"/>
                </a:solidFill>
                <a:effectLst/>
                <a:latin typeface="Times New Roman" panose="02020603050405020304" pitchFamily="18" charset="0"/>
                <a:ea typeface="Times New Roman" panose="02020603050405020304" pitchFamily="18" charset="0"/>
              </a:rPr>
              <a:t>Cấp</a:t>
            </a:r>
            <a:r>
              <a:rPr lang="en-US" sz="1900" b="1" dirty="0">
                <a:solidFill>
                  <a:srgbClr val="0070C0"/>
                </a:solidFill>
                <a:effectLst/>
                <a:latin typeface="Times New Roman" panose="02020603050405020304" pitchFamily="18" charset="0"/>
                <a:ea typeface="Times New Roman" panose="02020603050405020304" pitchFamily="18" charset="0"/>
              </a:rPr>
              <a:t> 1: </a:t>
            </a:r>
            <a:r>
              <a:rPr lang="en-US" sz="1900" b="1" dirty="0" err="1">
                <a:solidFill>
                  <a:srgbClr val="0070C0"/>
                </a:solidFill>
                <a:effectLst/>
                <a:latin typeface="Times New Roman" panose="02020603050405020304" pitchFamily="18" charset="0"/>
                <a:ea typeface="Times New Roman" panose="02020603050405020304" pitchFamily="18" charset="0"/>
              </a:rPr>
              <a:t>Tập</a:t>
            </a:r>
            <a:r>
              <a:rPr lang="en-US" sz="1900" b="1" dirty="0">
                <a:solidFill>
                  <a:srgbClr val="0070C0"/>
                </a:solidFill>
                <a:effectLst/>
                <a:latin typeface="Times New Roman" panose="02020603050405020304" pitchFamily="18" charset="0"/>
                <a:ea typeface="Times New Roman" panose="02020603050405020304" pitchFamily="18" charset="0"/>
              </a:rPr>
              <a:t> </a:t>
            </a:r>
            <a:r>
              <a:rPr lang="en-US" sz="1900" b="1" dirty="0" err="1">
                <a:solidFill>
                  <a:srgbClr val="0070C0"/>
                </a:solidFill>
                <a:effectLst/>
                <a:latin typeface="Times New Roman" panose="02020603050405020304" pitchFamily="18" charset="0"/>
                <a:ea typeface="Times New Roman" panose="02020603050405020304" pitchFamily="18" charset="0"/>
              </a:rPr>
              <a:t>Đoàn</a:t>
            </a:r>
            <a:r>
              <a:rPr lang="en-US" sz="1900" b="1" dirty="0">
                <a:solidFill>
                  <a:srgbClr val="0070C0"/>
                </a:solidFill>
                <a:effectLst/>
                <a:latin typeface="Times New Roman" panose="02020603050405020304" pitchFamily="18" charset="0"/>
                <a:ea typeface="Times New Roman" panose="02020603050405020304" pitchFamily="18" charset="0"/>
              </a:rPr>
              <a:t> </a:t>
            </a:r>
            <a:r>
              <a:rPr lang="en-US" sz="1900" b="1" dirty="0" err="1">
                <a:solidFill>
                  <a:srgbClr val="0070C0"/>
                </a:solidFill>
                <a:effectLst/>
                <a:latin typeface="Times New Roman" panose="02020603050405020304" pitchFamily="18" charset="0"/>
                <a:ea typeface="Times New Roman" panose="02020603050405020304" pitchFamily="18" charset="0"/>
              </a:rPr>
              <a:t>Điện</a:t>
            </a:r>
            <a:r>
              <a:rPr lang="en-US" sz="1900" b="1" dirty="0">
                <a:solidFill>
                  <a:srgbClr val="0070C0"/>
                </a:solidFill>
                <a:effectLst/>
                <a:latin typeface="Times New Roman" panose="02020603050405020304" pitchFamily="18" charset="0"/>
                <a:ea typeface="Times New Roman" panose="02020603050405020304" pitchFamily="18" charset="0"/>
              </a:rPr>
              <a:t> </a:t>
            </a:r>
            <a:r>
              <a:rPr lang="en-US" sz="1900" b="1" dirty="0" err="1">
                <a:solidFill>
                  <a:srgbClr val="0070C0"/>
                </a:solidFill>
                <a:effectLst/>
                <a:latin typeface="Times New Roman" panose="02020603050405020304" pitchFamily="18" charset="0"/>
                <a:ea typeface="Times New Roman" panose="02020603050405020304" pitchFamily="18" charset="0"/>
              </a:rPr>
              <a:t>lực</a:t>
            </a:r>
            <a:r>
              <a:rPr lang="en-US" sz="1900" b="1" dirty="0">
                <a:solidFill>
                  <a:srgbClr val="0070C0"/>
                </a:solidFill>
                <a:effectLst/>
                <a:latin typeface="Times New Roman" panose="02020603050405020304" pitchFamily="18" charset="0"/>
                <a:ea typeface="Times New Roman" panose="02020603050405020304" pitchFamily="18" charset="0"/>
              </a:rPr>
              <a:t> </a:t>
            </a:r>
            <a:r>
              <a:rPr lang="en-US" sz="1900" b="1" dirty="0" err="1">
                <a:solidFill>
                  <a:srgbClr val="0070C0"/>
                </a:solidFill>
                <a:effectLst/>
                <a:latin typeface="Times New Roman" panose="02020603050405020304" pitchFamily="18" charset="0"/>
                <a:ea typeface="Times New Roman" panose="02020603050405020304" pitchFamily="18" charset="0"/>
              </a:rPr>
              <a:t>Việt</a:t>
            </a:r>
            <a:r>
              <a:rPr lang="en-US" sz="1900" b="1" dirty="0">
                <a:solidFill>
                  <a:srgbClr val="0070C0"/>
                </a:solidFill>
                <a:effectLst/>
                <a:latin typeface="Times New Roman" panose="02020603050405020304" pitchFamily="18" charset="0"/>
                <a:ea typeface="Times New Roman" panose="02020603050405020304" pitchFamily="18" charset="0"/>
              </a:rPr>
              <a:t> Nam</a:t>
            </a:r>
          </a:p>
          <a:p>
            <a:pPr marL="342900" marR="0" lvl="0" indent="-342900" algn="just" defTabSz="914400" rtl="0" eaLnBrk="1" fontAlgn="auto" latinLnBrk="0" hangingPunct="1">
              <a:lnSpc>
                <a:spcPct val="100000"/>
              </a:lnSpc>
              <a:spcBef>
                <a:spcPts val="0"/>
              </a:spcBef>
              <a:spcAft>
                <a:spcPts val="0"/>
              </a:spcAft>
              <a:buClrTx/>
              <a:buSzTx/>
              <a:buFontTx/>
              <a:buChar char="-"/>
              <a:tabLst/>
              <a:defRPr/>
            </a:pPr>
            <a:r>
              <a:rPr lang="en-US" sz="1900" b="1" dirty="0" err="1">
                <a:solidFill>
                  <a:srgbClr val="0070C0"/>
                </a:solidFill>
                <a:latin typeface="Times New Roman" panose="02020603050405020304" pitchFamily="18" charset="0"/>
                <a:ea typeface="Calibri" panose="020F0502020204030204" pitchFamily="34" charset="0"/>
              </a:rPr>
              <a:t>Cấp</a:t>
            </a:r>
            <a:r>
              <a:rPr lang="en-US" sz="1900" b="1" dirty="0">
                <a:solidFill>
                  <a:srgbClr val="0070C0"/>
                </a:solidFill>
                <a:latin typeface="Times New Roman" panose="02020603050405020304" pitchFamily="18" charset="0"/>
                <a:ea typeface="Calibri" panose="020F0502020204030204" pitchFamily="34" charset="0"/>
              </a:rPr>
              <a:t> 2: </a:t>
            </a:r>
          </a:p>
          <a:p>
            <a:pPr marR="0" lvl="0" algn="just" defTabSz="914400" rtl="0" eaLnBrk="1" fontAlgn="auto" latinLnBrk="0" hangingPunct="1">
              <a:lnSpc>
                <a:spcPct val="100000"/>
              </a:lnSpc>
              <a:spcBef>
                <a:spcPts val="0"/>
              </a:spcBef>
              <a:spcAft>
                <a:spcPts val="0"/>
              </a:spcAft>
              <a:buClrTx/>
              <a:buSzTx/>
              <a:tabLst/>
              <a:defRPr/>
            </a:pPr>
            <a:r>
              <a:rPr lang="en-US" sz="1900" b="1" dirty="0">
                <a:solidFill>
                  <a:srgbClr val="0070C0"/>
                </a:solidFill>
                <a:latin typeface="Times New Roman" panose="02020603050405020304" pitchFamily="18" charset="0"/>
                <a:ea typeface="Calibri" panose="020F0502020204030204" pitchFamily="34" charset="0"/>
              </a:rPr>
              <a:t>	+ </a:t>
            </a:r>
            <a:r>
              <a:rPr lang="en-US" sz="1900" b="1" dirty="0" err="1">
                <a:solidFill>
                  <a:srgbClr val="0070C0"/>
                </a:solidFill>
                <a:latin typeface="Times New Roman" panose="02020603050405020304" pitchFamily="18" charset="0"/>
                <a:ea typeface="Calibri" panose="020F0502020204030204" pitchFamily="34" charset="0"/>
              </a:rPr>
              <a:t>Tổ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ông</a:t>
            </a:r>
            <a:r>
              <a:rPr lang="en-US" sz="1900" b="1" dirty="0">
                <a:solidFill>
                  <a:srgbClr val="0070C0"/>
                </a:solidFill>
                <a:latin typeface="Times New Roman" panose="02020603050405020304" pitchFamily="18" charset="0"/>
                <a:ea typeface="Calibri" panose="020F0502020204030204" pitchFamily="34" charset="0"/>
              </a:rPr>
              <a:t> ty: </a:t>
            </a:r>
            <a:r>
              <a:rPr lang="en-US" sz="1900" b="1" dirty="0" err="1">
                <a:solidFill>
                  <a:srgbClr val="0070C0"/>
                </a:solidFill>
                <a:latin typeface="Times New Roman" panose="02020603050405020304" pitchFamily="18" charset="0"/>
                <a:ea typeface="Calibri" panose="020F0502020204030204" pitchFamily="34" charset="0"/>
              </a:rPr>
              <a:t>có</a:t>
            </a:r>
            <a:r>
              <a:rPr lang="en-US" sz="1900" b="1" dirty="0">
                <a:solidFill>
                  <a:srgbClr val="0070C0"/>
                </a:solidFill>
                <a:latin typeface="Times New Roman" panose="02020603050405020304" pitchFamily="18" charset="0"/>
                <a:ea typeface="Calibri" panose="020F0502020204030204" pitchFamily="34" charset="0"/>
              </a:rPr>
              <a:t> 9 TCT: </a:t>
            </a:r>
          </a:p>
          <a:p>
            <a:pPr marL="3543300" lvl="7" indent="-342900" algn="just">
              <a:buFontTx/>
              <a:buChar char="-"/>
              <a:defRPr/>
            </a:pPr>
            <a:r>
              <a:rPr lang="en-US" sz="1900" b="1" dirty="0">
                <a:solidFill>
                  <a:srgbClr val="0070C0"/>
                </a:solidFill>
                <a:latin typeface="Times New Roman" panose="02020603050405020304" pitchFamily="18" charset="0"/>
                <a:ea typeface="Calibri" panose="020F0502020204030204" pitchFamily="34" charset="0"/>
              </a:rPr>
              <a:t>05 TCT </a:t>
            </a:r>
            <a:r>
              <a:rPr lang="en-US" sz="1900" b="1" dirty="0" err="1">
                <a:solidFill>
                  <a:srgbClr val="0070C0"/>
                </a:solidFill>
                <a:latin typeface="Times New Roman" panose="02020603050405020304" pitchFamily="18" charset="0"/>
                <a:ea typeface="Calibri" panose="020F0502020204030204" pitchFamily="34" charset="0"/>
              </a:rPr>
              <a:t>phâ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phố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p>
          <a:p>
            <a:pPr marL="3543300" lvl="7" indent="-342900" algn="just">
              <a:buFontTx/>
              <a:buChar char="-"/>
              <a:defRPr/>
            </a:pPr>
            <a:r>
              <a:rPr lang="en-US" sz="1900" b="1" dirty="0">
                <a:solidFill>
                  <a:srgbClr val="0070C0"/>
                </a:solidFill>
                <a:latin typeface="Times New Roman" panose="02020603050405020304" pitchFamily="18" charset="0"/>
                <a:ea typeface="Calibri" panose="020F0502020204030204" pitchFamily="34" charset="0"/>
              </a:rPr>
              <a:t>01 TCT </a:t>
            </a:r>
            <a:r>
              <a:rPr lang="en-US" sz="1900" b="1" dirty="0" err="1">
                <a:solidFill>
                  <a:srgbClr val="0070C0"/>
                </a:solidFill>
                <a:latin typeface="Times New Roman" panose="02020603050405020304" pitchFamily="18" charset="0"/>
                <a:ea typeface="Calibri" panose="020F0502020204030204" pitchFamily="34" charset="0"/>
              </a:rPr>
              <a:t>Truyề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ả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Quố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gia</a:t>
            </a:r>
            <a:r>
              <a:rPr lang="en-US" sz="1900" b="1" dirty="0">
                <a:solidFill>
                  <a:srgbClr val="0070C0"/>
                </a:solidFill>
                <a:latin typeface="Times New Roman" panose="02020603050405020304" pitchFamily="18" charset="0"/>
                <a:ea typeface="Calibri" panose="020F0502020204030204" pitchFamily="34" charset="0"/>
              </a:rPr>
              <a:t>, </a:t>
            </a:r>
          </a:p>
          <a:p>
            <a:pPr marL="3543300" lvl="7" indent="-342900" algn="just">
              <a:buFontTx/>
              <a:buChar char="-"/>
              <a:defRPr/>
            </a:pPr>
            <a:r>
              <a:rPr lang="en-US" sz="1900" b="1" dirty="0">
                <a:solidFill>
                  <a:srgbClr val="0070C0"/>
                </a:solidFill>
                <a:latin typeface="Times New Roman" panose="02020603050405020304" pitchFamily="18" charset="0"/>
                <a:ea typeface="Calibri" panose="020F0502020204030204" pitchFamily="34" charset="0"/>
              </a:rPr>
              <a:t>03 TCT </a:t>
            </a:r>
            <a:r>
              <a:rPr lang="en-US" sz="1900" b="1" dirty="0" err="1">
                <a:solidFill>
                  <a:srgbClr val="0070C0"/>
                </a:solidFill>
                <a:latin typeface="Times New Roman" panose="02020603050405020304" pitchFamily="18" charset="0"/>
                <a:ea typeface="Calibri" panose="020F0502020204030204" pitchFamily="34" charset="0"/>
              </a:rPr>
              <a:t>Phát</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p>
          <a:p>
            <a:pPr lvl="0" algn="just">
              <a:defRPr/>
            </a:pPr>
            <a:r>
              <a:rPr lang="en-US" sz="1900" b="1" dirty="0">
                <a:solidFill>
                  <a:srgbClr val="0070C0"/>
                </a:solidFill>
                <a:latin typeface="Times New Roman" panose="02020603050405020304" pitchFamily="18" charset="0"/>
                <a:ea typeface="Calibri" panose="020F0502020204030204" pitchFamily="34" charset="0"/>
              </a:rPr>
              <a:t>	+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Công ty </a:t>
            </a:r>
            <a:r>
              <a:rPr lang="en-US" sz="1900" b="1" dirty="0" err="1">
                <a:solidFill>
                  <a:srgbClr val="0070C0"/>
                </a:solidFill>
                <a:latin typeface="Times New Roman" panose="02020603050405020304" pitchFamily="18" charset="0"/>
                <a:ea typeface="Calibri" panose="020F0502020204030204" pitchFamily="34" charset="0"/>
              </a:rPr>
              <a:t>trự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huộc</a:t>
            </a:r>
            <a:r>
              <a:rPr lang="en-US" sz="1900" b="1" dirty="0">
                <a:solidFill>
                  <a:srgbClr val="0070C0"/>
                </a:solidFill>
                <a:latin typeface="Times New Roman" panose="02020603050405020304" pitchFamily="18" charset="0"/>
                <a:ea typeface="Calibri" panose="020F0502020204030204" pitchFamily="34" charset="0"/>
              </a:rPr>
              <a:t> EVN 18 </a:t>
            </a:r>
            <a:r>
              <a:rPr lang="en-US" sz="1900" b="1" dirty="0" err="1">
                <a:solidFill>
                  <a:srgbClr val="0070C0"/>
                </a:solidFill>
                <a:latin typeface="Times New Roman" panose="02020603050405020304" pitchFamily="18" charset="0"/>
                <a:ea typeface="Calibri" panose="020F0502020204030204" pitchFamily="34" charset="0"/>
              </a:rPr>
              <a:t>đơ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vị</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gồm</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ó</a:t>
            </a:r>
            <a:r>
              <a:rPr lang="en-US" sz="1900" b="1" dirty="0">
                <a:solidFill>
                  <a:srgbClr val="0070C0"/>
                </a:solidFill>
                <a:latin typeface="Times New Roman" panose="02020603050405020304" pitchFamily="18" charset="0"/>
                <a:ea typeface="Calibri" panose="020F0502020204030204" pitchFamily="34" charset="0"/>
              </a:rPr>
              <a:t>: 9 NM điện (</a:t>
            </a:r>
            <a:r>
              <a:rPr lang="en-US" sz="1900" b="1" dirty="0" err="1">
                <a:solidFill>
                  <a:srgbClr val="0070C0"/>
                </a:solidFill>
                <a:latin typeface="Times New Roman" panose="02020603050405020304" pitchFamily="18" charset="0"/>
                <a:ea typeface="Calibri" panose="020F0502020204030204" pitchFamily="34" charset="0"/>
              </a:rPr>
              <a:t>Hòa</a:t>
            </a:r>
            <a:r>
              <a:rPr lang="en-US" sz="1900" b="1" dirty="0">
                <a:solidFill>
                  <a:srgbClr val="0070C0"/>
                </a:solidFill>
                <a:latin typeface="Times New Roman" panose="02020603050405020304" pitchFamily="18" charset="0"/>
                <a:ea typeface="Calibri" panose="020F0502020204030204" pitchFamily="34" charset="0"/>
              </a:rPr>
              <a:t> Bình, Sơn La, </a:t>
            </a:r>
            <a:r>
              <a:rPr lang="en-US" sz="1900" b="1" dirty="0" err="1">
                <a:solidFill>
                  <a:srgbClr val="0070C0"/>
                </a:solidFill>
                <a:latin typeface="Times New Roman" panose="02020603050405020304" pitchFamily="18" charset="0"/>
                <a:ea typeface="Calibri" panose="020F0502020204030204" pitchFamily="34" charset="0"/>
              </a:rPr>
              <a:t>Trị</a:t>
            </a:r>
            <a:r>
              <a:rPr lang="en-US" sz="1900" b="1" dirty="0">
                <a:solidFill>
                  <a:srgbClr val="0070C0"/>
                </a:solidFill>
                <a:latin typeface="Times New Roman" panose="02020603050405020304" pitchFamily="18" charset="0"/>
                <a:ea typeface="Calibri" panose="020F0502020204030204" pitchFamily="34" charset="0"/>
              </a:rPr>
              <a:t> An, </a:t>
            </a:r>
            <a:r>
              <a:rPr lang="en-US" sz="1900" b="1" dirty="0" err="1">
                <a:solidFill>
                  <a:srgbClr val="0070C0"/>
                </a:solidFill>
                <a:latin typeface="Times New Roman" panose="02020603050405020304" pitchFamily="18" charset="0"/>
                <a:ea typeface="Calibri" panose="020F0502020204030204" pitchFamily="34" charset="0"/>
              </a:rPr>
              <a:t>Yaly</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uyên</a:t>
            </a:r>
            <a:r>
              <a:rPr lang="en-US" sz="1900" b="1" dirty="0">
                <a:solidFill>
                  <a:srgbClr val="0070C0"/>
                </a:solidFill>
                <a:latin typeface="Times New Roman" panose="02020603050405020304" pitchFamily="18" charset="0"/>
                <a:ea typeface="Calibri" panose="020F0502020204030204" pitchFamily="34" charset="0"/>
              </a:rPr>
              <a:t> Quang, </a:t>
            </a:r>
            <a:r>
              <a:rPr lang="en-US" sz="1900" b="1" dirty="0" err="1">
                <a:solidFill>
                  <a:srgbClr val="0070C0"/>
                </a:solidFill>
                <a:latin typeface="Times New Roman" panose="02020603050405020304" pitchFamily="18" charset="0"/>
                <a:ea typeface="Calibri" panose="020F0502020204030204" pitchFamily="34" charset="0"/>
              </a:rPr>
              <a:t>Sê</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sa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Huộ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Quả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Bả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hát</a:t>
            </a:r>
            <a:r>
              <a:rPr lang="en-US" sz="1900" b="1" dirty="0">
                <a:solidFill>
                  <a:srgbClr val="0070C0"/>
                </a:solidFill>
                <a:latin typeface="Times New Roman" panose="02020603050405020304" pitchFamily="18" charset="0"/>
                <a:ea typeface="Calibri" panose="020F0502020204030204" pitchFamily="34" charset="0"/>
              </a:rPr>
              <a:t>, Thái Bình , Vĩnh Tân 4 ); EPTC; PSC; A0;  03 Ban QLDA ; ) 3 </a:t>
            </a:r>
            <a:r>
              <a:rPr lang="en-US" sz="1900" b="1" dirty="0" err="1">
                <a:solidFill>
                  <a:srgbClr val="0070C0"/>
                </a:solidFill>
                <a:latin typeface="Times New Roman" panose="02020603050405020304" pitchFamily="18" charset="0"/>
                <a:ea typeface="Calibri" panose="020F0502020204030204" pitchFamily="34" charset="0"/>
              </a:rPr>
              <a:t>đơ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vị</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khố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khác</a:t>
            </a:r>
            <a:r>
              <a:rPr lang="en-US" sz="1900" b="1" dirty="0">
                <a:solidFill>
                  <a:srgbClr val="0070C0"/>
                </a:solidFill>
                <a:latin typeface="Times New Roman" panose="02020603050405020304" pitchFamily="18" charset="0"/>
                <a:ea typeface="Calibri" panose="020F0502020204030204" pitchFamily="34" charset="0"/>
              </a:rPr>
              <a:t>   (CTI, EIC, EVNICT)</a:t>
            </a:r>
          </a:p>
          <a:p>
            <a:pPr lvl="0" algn="just">
              <a:defRPr/>
            </a:pPr>
            <a:r>
              <a:rPr lang="en-US" sz="1900" b="1" dirty="0">
                <a:solidFill>
                  <a:srgbClr val="0070C0"/>
                </a:solidFill>
                <a:latin typeface="Times New Roman" panose="02020603050405020304" pitchFamily="18" charset="0"/>
                <a:ea typeface="Calibri" panose="020F0502020204030204" pitchFamily="34" charset="0"/>
              </a:rPr>
              <a:t>	+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Công ty </a:t>
            </a:r>
            <a:r>
              <a:rPr lang="en-US" sz="1900" b="1" dirty="0" err="1">
                <a:solidFill>
                  <a:srgbClr val="0070C0"/>
                </a:solidFill>
                <a:latin typeface="Times New Roman" panose="02020603050405020304" pitchFamily="18" charset="0"/>
                <a:ea typeface="Calibri" panose="020F0502020204030204" pitchFamily="34" charset="0"/>
              </a:rPr>
              <a:t>tư</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vấ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xây</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dựng</a:t>
            </a:r>
            <a:r>
              <a:rPr lang="en-US" sz="1900" b="1" dirty="0">
                <a:solidFill>
                  <a:srgbClr val="0070C0"/>
                </a:solidFill>
                <a:latin typeface="Times New Roman" panose="02020603050405020304" pitchFamily="18" charset="0"/>
                <a:ea typeface="Calibri" panose="020F0502020204030204" pitchFamily="34" charset="0"/>
              </a:rPr>
              <a:t> điện. </a:t>
            </a:r>
          </a:p>
          <a:p>
            <a:pPr marL="342900" lvl="0" indent="-342900" algn="just">
              <a:buFontTx/>
              <a:buChar char="-"/>
              <a:defRPr/>
            </a:pPr>
            <a:r>
              <a:rPr lang="en-US" sz="1900" b="1" dirty="0" err="1">
                <a:solidFill>
                  <a:srgbClr val="0070C0"/>
                </a:solidFill>
                <a:latin typeface="Times New Roman" panose="02020603050405020304" pitchFamily="18" charset="0"/>
                <a:ea typeface="Calibri" panose="020F0502020204030204" pitchFamily="34" charset="0"/>
              </a:rPr>
              <a:t>Cấp</a:t>
            </a:r>
            <a:r>
              <a:rPr lang="en-US" sz="1900" b="1" dirty="0">
                <a:solidFill>
                  <a:srgbClr val="0070C0"/>
                </a:solidFill>
                <a:latin typeface="Times New Roman" panose="02020603050405020304" pitchFamily="18" charset="0"/>
                <a:ea typeface="Calibri" panose="020F0502020204030204" pitchFamily="34" charset="0"/>
              </a:rPr>
              <a:t> 3: </a:t>
            </a:r>
          </a:p>
          <a:p>
            <a:pPr lvl="2" algn="just">
              <a:defRPr/>
            </a:pP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ông</a:t>
            </a:r>
            <a:r>
              <a:rPr lang="en-US" sz="1900" b="1" dirty="0">
                <a:solidFill>
                  <a:srgbClr val="0070C0"/>
                </a:solidFill>
                <a:latin typeface="Times New Roman" panose="02020603050405020304" pitchFamily="18" charset="0"/>
                <a:ea typeface="Calibri" panose="020F0502020204030204" pitchFamily="34" charset="0"/>
              </a:rPr>
              <a:t> ty </a:t>
            </a:r>
            <a:r>
              <a:rPr lang="en-US" sz="1900" b="1" dirty="0" err="1">
                <a:solidFill>
                  <a:srgbClr val="0070C0"/>
                </a:solidFill>
                <a:latin typeface="Times New Roman" panose="02020603050405020304" pitchFamily="18" charset="0"/>
                <a:ea typeface="Calibri" panose="020F0502020204030204" pitchFamily="34" charset="0"/>
              </a:rPr>
              <a:t>trự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huộ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TCT: </a:t>
            </a:r>
            <a:r>
              <a:rPr lang="en-US" sz="1900" b="1" dirty="0" err="1">
                <a:solidFill>
                  <a:srgbClr val="0070C0"/>
                </a:solidFill>
                <a:latin typeface="Times New Roman" panose="02020603050405020304" pitchFamily="18" charset="0"/>
                <a:ea typeface="Calibri" panose="020F0502020204030204" pitchFamily="34" charset="0"/>
              </a:rPr>
              <a:t>Công</a:t>
            </a:r>
            <a:r>
              <a:rPr lang="en-US" sz="1900" b="1" dirty="0">
                <a:solidFill>
                  <a:srgbClr val="0070C0"/>
                </a:solidFill>
                <a:latin typeface="Times New Roman" panose="02020603050405020304" pitchFamily="18" charset="0"/>
                <a:ea typeface="Calibri" panose="020F0502020204030204" pitchFamily="34" charset="0"/>
              </a:rPr>
              <a:t> ty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lự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ỉ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Quậ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ông</a:t>
            </a:r>
            <a:r>
              <a:rPr lang="en-US" sz="1900" b="1" dirty="0">
                <a:solidFill>
                  <a:srgbClr val="0070C0"/>
                </a:solidFill>
                <a:latin typeface="Times New Roman" panose="02020603050405020304" pitchFamily="18" charset="0"/>
                <a:ea typeface="Calibri" panose="020F0502020204030204" pitchFamily="34" charset="0"/>
              </a:rPr>
              <a:t> ty </a:t>
            </a:r>
            <a:r>
              <a:rPr lang="en-US" sz="1900" b="1" dirty="0" err="1">
                <a:solidFill>
                  <a:srgbClr val="0070C0"/>
                </a:solidFill>
                <a:latin typeface="Times New Roman" panose="02020603050405020304" pitchFamily="18" charset="0"/>
                <a:ea typeface="Calibri" panose="020F0502020204030204" pitchFamily="34" charset="0"/>
              </a:rPr>
              <a:t>Truyề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ả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Nhà</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máy</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iện</a:t>
            </a:r>
            <a:r>
              <a:rPr lang="en-US" sz="1900" b="1" dirty="0">
                <a:solidFill>
                  <a:srgbClr val="0070C0"/>
                </a:solidFill>
                <a:latin typeface="Times New Roman" panose="02020603050405020304" pitchFamily="18" charset="0"/>
                <a:ea typeface="Calibri" panose="020F0502020204030204" pitchFamily="34" charset="0"/>
              </a:rPr>
              <a:t> </a:t>
            </a:r>
          </a:p>
          <a:p>
            <a:pPr marL="342900" lvl="0" indent="-342900" algn="just">
              <a:buFontTx/>
              <a:buChar char="-"/>
              <a:defRPr/>
            </a:pPr>
            <a:r>
              <a:rPr lang="en-US" sz="1900" b="1" dirty="0" err="1">
                <a:solidFill>
                  <a:srgbClr val="0070C0"/>
                </a:solidFill>
                <a:latin typeface="Times New Roman" panose="02020603050405020304" pitchFamily="18" charset="0"/>
                <a:ea typeface="Calibri" panose="020F0502020204030204" pitchFamily="34" charset="0"/>
              </a:rPr>
              <a:t>Cấp</a:t>
            </a:r>
            <a:r>
              <a:rPr lang="en-US" sz="1900" b="1" dirty="0">
                <a:solidFill>
                  <a:srgbClr val="0070C0"/>
                </a:solidFill>
                <a:latin typeface="Times New Roman" panose="02020603050405020304" pitchFamily="18" charset="0"/>
                <a:ea typeface="Calibri" panose="020F0502020204030204" pitchFamily="34" charset="0"/>
              </a:rPr>
              <a:t> 4: </a:t>
            </a:r>
          </a:p>
          <a:p>
            <a:pPr lvl="2" algn="just">
              <a:defRPr/>
            </a:pP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Điện lực </a:t>
            </a:r>
            <a:r>
              <a:rPr lang="en-US" sz="1900" b="1" dirty="0" err="1">
                <a:solidFill>
                  <a:srgbClr val="0070C0"/>
                </a:solidFill>
                <a:latin typeface="Times New Roman" panose="02020603050405020304" pitchFamily="18" charset="0"/>
                <a:ea typeface="Calibri" panose="020F0502020204030204" pitchFamily="34" charset="0"/>
              </a:rPr>
              <a:t>huyện</a:t>
            </a:r>
            <a:r>
              <a:rPr lang="en-US" sz="1900" b="1" dirty="0">
                <a:solidFill>
                  <a:srgbClr val="0070C0"/>
                </a:solidFill>
                <a:latin typeface="Times New Roman" panose="02020603050405020304" pitchFamily="18" charset="0"/>
                <a:ea typeface="Calibri" panose="020F0502020204030204" pitchFamily="34" charset="0"/>
              </a:rPr>
              <a:t>, Thị </a:t>
            </a:r>
            <a:r>
              <a:rPr lang="en-US" sz="1900" b="1" dirty="0" err="1">
                <a:solidFill>
                  <a:srgbClr val="0070C0"/>
                </a:solidFill>
                <a:latin typeface="Times New Roman" panose="02020603050405020304" pitchFamily="18" charset="0"/>
                <a:ea typeface="Calibri" panose="020F0502020204030204" pitchFamily="34" charset="0"/>
              </a:rPr>
              <a:t>xã</a:t>
            </a:r>
            <a:r>
              <a:rPr lang="en-US" sz="1900" b="1" dirty="0">
                <a:solidFill>
                  <a:srgbClr val="0070C0"/>
                </a:solidFill>
                <a:latin typeface="Times New Roman" panose="02020603050405020304" pitchFamily="18" charset="0"/>
                <a:ea typeface="Calibri" panose="020F0502020204030204" pitchFamily="34" charset="0"/>
              </a:rPr>
              <a:t>, Thành </a:t>
            </a:r>
            <a:r>
              <a:rPr lang="en-US" sz="1900" b="1" dirty="0" err="1">
                <a:solidFill>
                  <a:srgbClr val="0070C0"/>
                </a:solidFill>
                <a:latin typeface="Times New Roman" panose="02020603050405020304" pitchFamily="18" charset="0"/>
                <a:ea typeface="Calibri" panose="020F0502020204030204" pitchFamily="34" charset="0"/>
              </a:rPr>
              <a:t>phố</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rự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huộ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ỉ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ruyể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ải</a:t>
            </a:r>
            <a:r>
              <a:rPr lang="en-US" sz="1900" b="1" dirty="0">
                <a:solidFill>
                  <a:srgbClr val="0070C0"/>
                </a:solidFill>
                <a:latin typeface="Times New Roman" panose="02020603050405020304" pitchFamily="18" charset="0"/>
                <a:ea typeface="Calibri" panose="020F0502020204030204" pitchFamily="34" charset="0"/>
              </a:rPr>
              <a:t> điện </a:t>
            </a:r>
            <a:r>
              <a:rPr lang="en-US" sz="1900" b="1" dirty="0" err="1">
                <a:solidFill>
                  <a:srgbClr val="0070C0"/>
                </a:solidFill>
                <a:latin typeface="Times New Roman" panose="02020603050405020304" pitchFamily="18" charset="0"/>
                <a:ea typeface="Calibri" panose="020F0502020204030204" pitchFamily="34" charset="0"/>
              </a:rPr>
              <a:t>thuộ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á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ỉ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hà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phố</a:t>
            </a:r>
            <a:r>
              <a:rPr lang="en-US" sz="1900" b="1" dirty="0">
                <a:solidFill>
                  <a:srgbClr val="0070C0"/>
                </a:solidFill>
                <a:latin typeface="Times New Roman" panose="02020603050405020304" pitchFamily="18" charset="0"/>
                <a:ea typeface="Calibri" panose="020F0502020204030204" pitchFamily="34" charset="0"/>
              </a:rPr>
              <a:t>  </a:t>
            </a:r>
          </a:p>
          <a:p>
            <a:pPr lvl="0" algn="just">
              <a:defRPr/>
            </a:pPr>
            <a:endParaRPr lang="en-US" sz="1900" b="1" dirty="0">
              <a:solidFill>
                <a:srgbClr val="0070C0"/>
              </a:solidFill>
              <a:latin typeface="Times New Roman" panose="02020603050405020304" pitchFamily="18" charset="0"/>
              <a:ea typeface="Calibri" panose="020F0502020204030204" pitchFamily="34" charset="0"/>
            </a:endParaRPr>
          </a:p>
        </p:txBody>
      </p:sp>
      <p:sp>
        <p:nvSpPr>
          <p:cNvPr id="28" name="TextBox 27">
            <a:extLst>
              <a:ext uri="{FF2B5EF4-FFF2-40B4-BE49-F238E27FC236}">
                <a16:creationId xmlns:a16="http://schemas.microsoft.com/office/drawing/2014/main" id="{BAB7C39E-00A5-464C-852D-C75EAF717E1F}"/>
              </a:ext>
            </a:extLst>
          </p:cNvPr>
          <p:cNvSpPr txBox="1"/>
          <p:nvPr/>
        </p:nvSpPr>
        <p:spPr>
          <a:xfrm>
            <a:off x="1298998" y="5505726"/>
            <a:ext cx="8564680" cy="353943"/>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lang="en-US" sz="1700" b="1" dirty="0">
                <a:solidFill>
                  <a:srgbClr val="0070C0"/>
                </a:solidFill>
                <a:latin typeface="Times New Roman" panose="02020603050405020304" pitchFamily="18" charset="0"/>
                <a:ea typeface="Calibri" panose="020F0502020204030204" pitchFamily="34" charset="0"/>
              </a:rPr>
              <a:t>        </a:t>
            </a:r>
          </a:p>
        </p:txBody>
      </p:sp>
    </p:spTree>
    <p:extLst>
      <p:ext uri="{BB962C8B-B14F-4D97-AF65-F5344CB8AC3E}">
        <p14:creationId xmlns:p14="http://schemas.microsoft.com/office/powerpoint/2010/main" val="3894289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Reminder to Women Owned Businesses – Take Advantage of Federal Contracting  Opportunities! | Federal Construction Contracting Blog">
            <a:extLst>
              <a:ext uri="{FF2B5EF4-FFF2-40B4-BE49-F238E27FC236}">
                <a16:creationId xmlns:a16="http://schemas.microsoft.com/office/drawing/2014/main" id="{7D9A72F7-DF38-4EB2-9A9B-275985E75C6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415041" y="1284250"/>
            <a:ext cx="1776958" cy="16473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Chart 3"/>
          <p:cNvGraphicFramePr/>
          <p:nvPr>
            <p:extLst>
              <p:ext uri="{D42A27DB-BD31-4B8C-83A1-F6EECF244321}">
                <p14:modId xmlns:p14="http://schemas.microsoft.com/office/powerpoint/2010/main" val="711539747"/>
              </p:ext>
            </p:extLst>
          </p:nvPr>
        </p:nvGraphicFramePr>
        <p:xfrm>
          <a:off x="0" y="1209817"/>
          <a:ext cx="5073728" cy="3111528"/>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p:cNvCxnSpPr/>
          <p:nvPr/>
        </p:nvCxnSpPr>
        <p:spPr>
          <a:xfrm>
            <a:off x="5153025" y="1433347"/>
            <a:ext cx="0" cy="3168352"/>
          </a:xfrm>
          <a:prstGeom prst="line">
            <a:avLst/>
          </a:prstGeom>
          <a:ln w="317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114300" y="4601699"/>
            <a:ext cx="11911970" cy="0"/>
          </a:xfrm>
          <a:prstGeom prst="line">
            <a:avLst/>
          </a:prstGeom>
          <a:ln w="317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14301" y="4738758"/>
            <a:ext cx="10575866" cy="1877437"/>
          </a:xfrm>
          <a:prstGeom prst="rect">
            <a:avLst/>
          </a:prstGeom>
          <a:noFill/>
        </p:spPr>
        <p:txBody>
          <a:bodyPr wrap="square" rtlCol="0">
            <a:spAutoFit/>
          </a:bodyPr>
          <a:lstStyle/>
          <a:p>
            <a:pPr marL="342900" indent="-342900" algn="just">
              <a:spcBef>
                <a:spcPts val="1200"/>
              </a:spcBef>
              <a:buFont typeface="Wingdings" panose="05000000000000000000" pitchFamily="2" charset="2"/>
              <a:buChar char="ü"/>
            </a:pPr>
            <a:r>
              <a:rPr lang="en-US" altLang="ko-KR" b="1" dirty="0" err="1">
                <a:solidFill>
                  <a:schemeClr val="accent1"/>
                </a:solidFill>
                <a:latin typeface="Times New Roman" panose="02020603050405020304" pitchFamily="18" charset="0"/>
                <a:cs typeface="Times New Roman" panose="02020603050405020304" pitchFamily="18" charset="0"/>
              </a:rPr>
              <a:t>Nữ</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o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ất</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ả</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á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ĩ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vự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ập</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u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ủ</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yếu</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o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ĩ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vự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ki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doa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ài</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í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kế</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oá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ổ</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ứ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nhâ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sự</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uyề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hô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vă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phòng</a:t>
            </a:r>
            <a:r>
              <a:rPr lang="en-US" altLang="ko-KR" b="1" dirty="0">
                <a:solidFill>
                  <a:schemeClr val="accent1"/>
                </a:solidFill>
                <a:latin typeface="Times New Roman" panose="02020603050405020304" pitchFamily="18" charset="0"/>
                <a:cs typeface="Times New Roman" panose="02020603050405020304" pitchFamily="18" charset="0"/>
              </a:rPr>
              <a:t>. </a:t>
            </a:r>
          </a:p>
          <a:p>
            <a:pPr marL="342900" indent="-342900" algn="just">
              <a:spcBef>
                <a:spcPts val="1200"/>
              </a:spcBef>
              <a:buFont typeface="Wingdings" panose="05000000000000000000" pitchFamily="2" charset="2"/>
              <a:buChar char="ü"/>
            </a:pPr>
            <a:r>
              <a:rPr lang="en-US" altLang="ko-KR" b="1" dirty="0" err="1">
                <a:solidFill>
                  <a:schemeClr val="accent1"/>
                </a:solidFill>
                <a:latin typeface="Times New Roman" panose="02020603050405020304" pitchFamily="18" charset="0"/>
                <a:cs typeface="Times New Roman" panose="02020603050405020304" pitchFamily="18" charset="0"/>
              </a:rPr>
              <a:t>Nữ</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ó</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ì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ộ</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ại</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họ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ở</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ê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iếm</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ỷ</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ệ</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sz="2000" b="1" dirty="0">
                <a:solidFill>
                  <a:srgbClr val="FF0000"/>
                </a:solidFill>
                <a:latin typeface="Times New Roman" panose="02020603050405020304" pitchFamily="18" charset="0"/>
                <a:cs typeface="Times New Roman" panose="02020603050405020304" pitchFamily="18" charset="0"/>
              </a:rPr>
              <a:t>26,83 %</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o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ổ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số</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ao</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ộ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ó</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ì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ộ</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ại</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học</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ở</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ên</a:t>
            </a:r>
            <a:r>
              <a:rPr lang="en-US" altLang="ko-KR" b="1" dirty="0">
                <a:solidFill>
                  <a:schemeClr val="accent1"/>
                </a:solidFill>
                <a:latin typeface="Times New Roman" panose="02020603050405020304" pitchFamily="18" charset="0"/>
                <a:cs typeface="Times New Roman" panose="02020603050405020304" pitchFamily="18" charset="0"/>
              </a:rPr>
              <a:t>.</a:t>
            </a:r>
          </a:p>
          <a:p>
            <a:pPr marL="342900" indent="-342900" algn="just">
              <a:spcBef>
                <a:spcPts val="1200"/>
              </a:spcBef>
              <a:buFont typeface="Wingdings" panose="05000000000000000000" pitchFamily="2" charset="2"/>
              <a:buChar char="ü"/>
            </a:pPr>
            <a:r>
              <a:rPr lang="en-US" altLang="ko-KR" b="1" dirty="0" err="1">
                <a:solidFill>
                  <a:schemeClr val="accent1"/>
                </a:solidFill>
                <a:latin typeface="Times New Roman" panose="02020603050405020304" pitchFamily="18" charset="0"/>
                <a:cs typeface="Times New Roman" panose="02020603050405020304" pitchFamily="18" charset="0"/>
              </a:rPr>
              <a:t>Nữ</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á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bộ</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quả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ý</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ừ</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ơ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vị</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ấp</a:t>
            </a:r>
            <a:r>
              <a:rPr lang="en-US" altLang="ko-KR" b="1" dirty="0">
                <a:solidFill>
                  <a:schemeClr val="accent1"/>
                </a:solidFill>
                <a:latin typeface="Times New Roman" panose="02020603050405020304" pitchFamily="18" charset="0"/>
                <a:cs typeface="Times New Roman" panose="02020603050405020304" pitchFamily="18" charset="0"/>
              </a:rPr>
              <a:t> 3 </a:t>
            </a:r>
            <a:r>
              <a:rPr lang="en-US" altLang="ko-KR" b="1" dirty="0" err="1">
                <a:solidFill>
                  <a:schemeClr val="accent1"/>
                </a:solidFill>
                <a:latin typeface="Times New Roman" panose="02020603050405020304" pitchFamily="18" charset="0"/>
                <a:cs typeface="Times New Roman" panose="02020603050405020304" pitchFamily="18" charset="0"/>
              </a:rPr>
              <a:t>trở</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ê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iếm</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ỷ</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ệ</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sz="2000" b="1" dirty="0">
                <a:solidFill>
                  <a:srgbClr val="FF0000"/>
                </a:solidFill>
                <a:latin typeface="Times New Roman" panose="02020603050405020304" pitchFamily="18" charset="0"/>
                <a:cs typeface="Times New Roman" panose="02020603050405020304" pitchFamily="18" charset="0"/>
              </a:rPr>
              <a:t>13,05%</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o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ổ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số</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ãnh</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đạo</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quản</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ý</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a:solidFill>
                  <a:srgbClr val="FF0000"/>
                </a:solidFill>
                <a:latin typeface="Times New Roman" panose="02020603050405020304" pitchFamily="18" charset="0"/>
                <a:cs typeface="Times New Roman" panose="02020603050405020304" pitchFamily="18" charset="0"/>
              </a:rPr>
              <a:t>1.685 </a:t>
            </a:r>
            <a:r>
              <a:rPr lang="en-US" altLang="ko-KR" b="1" dirty="0" err="1">
                <a:solidFill>
                  <a:srgbClr val="FF0000"/>
                </a:solidFill>
                <a:latin typeface="Times New Roman" panose="02020603050405020304" pitchFamily="18" charset="0"/>
                <a:cs typeface="Times New Roman" panose="02020603050405020304" pitchFamily="18" charset="0"/>
              </a:rPr>
              <a:t>người</a:t>
            </a:r>
            <a:r>
              <a:rPr lang="en-US" altLang="ko-KR" b="1" dirty="0">
                <a:solidFill>
                  <a:schemeClr val="accent1"/>
                </a:solidFill>
                <a:latin typeface="Times New Roman" panose="02020603050405020304" pitchFamily="18" charset="0"/>
                <a:cs typeface="Times New Roman" panose="02020603050405020304" pitchFamily="18" charset="0"/>
              </a:rPr>
              <a:t>). Trong </a:t>
            </a:r>
            <a:r>
              <a:rPr lang="en-US" altLang="ko-KR" b="1" dirty="0" err="1">
                <a:solidFill>
                  <a:schemeClr val="accent1"/>
                </a:solidFill>
                <a:latin typeface="Times New Roman" panose="02020603050405020304" pitchFamily="18" charset="0"/>
                <a:cs typeface="Times New Roman" panose="02020603050405020304" pitchFamily="18" charset="0"/>
              </a:rPr>
              <a:t>đó</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nữ</a:t>
            </a:r>
            <a:r>
              <a:rPr lang="en-US" altLang="ko-KR" b="1" dirty="0">
                <a:solidFill>
                  <a:schemeClr val="accent1"/>
                </a:solidFill>
                <a:latin typeface="Times New Roman" panose="02020603050405020304" pitchFamily="18" charset="0"/>
                <a:cs typeface="Times New Roman" panose="02020603050405020304" pitchFamily="18" charset="0"/>
              </a:rPr>
              <a:t> ở </a:t>
            </a:r>
            <a:r>
              <a:rPr lang="en-US" altLang="ko-KR" b="1" dirty="0" err="1">
                <a:solidFill>
                  <a:schemeClr val="accent1"/>
                </a:solidFill>
                <a:latin typeface="Times New Roman" panose="02020603050405020304" pitchFamily="18" charset="0"/>
                <a:cs typeface="Times New Roman" panose="02020603050405020304" pitchFamily="18" charset="0"/>
              </a:rPr>
              <a:t>vị</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í</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ấp</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rưởng</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chiếm</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tỷ</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err="1">
                <a:solidFill>
                  <a:schemeClr val="accent1"/>
                </a:solidFill>
                <a:latin typeface="Times New Roman" panose="02020603050405020304" pitchFamily="18" charset="0"/>
                <a:cs typeface="Times New Roman" panose="02020603050405020304" pitchFamily="18" charset="0"/>
              </a:rPr>
              <a:t>lệ</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sz="2000" b="1" dirty="0">
                <a:solidFill>
                  <a:srgbClr val="FF0000"/>
                </a:solidFill>
                <a:latin typeface="Times New Roman" panose="02020603050405020304" pitchFamily="18" charset="0"/>
                <a:cs typeface="Times New Roman" panose="02020603050405020304" pitchFamily="18" charset="0"/>
              </a:rPr>
              <a:t>9,86%</a:t>
            </a:r>
            <a:r>
              <a:rPr lang="en-US" altLang="ko-KR" b="1" dirty="0">
                <a:solidFill>
                  <a:schemeClr val="accent1"/>
                </a:solidFill>
                <a:latin typeface="Times New Roman" panose="02020603050405020304" pitchFamily="18" charset="0"/>
                <a:cs typeface="Times New Roman" panose="02020603050405020304" pitchFamily="18" charset="0"/>
              </a:rPr>
              <a:t> (</a:t>
            </a:r>
            <a:r>
              <a:rPr lang="en-US" altLang="ko-KR" b="1" dirty="0">
                <a:solidFill>
                  <a:srgbClr val="FF0000"/>
                </a:solidFill>
                <a:latin typeface="Times New Roman" panose="02020603050405020304" pitchFamily="18" charset="0"/>
                <a:cs typeface="Times New Roman" panose="02020603050405020304" pitchFamily="18" charset="0"/>
              </a:rPr>
              <a:t>335 </a:t>
            </a:r>
            <a:r>
              <a:rPr lang="en-US" altLang="ko-KR" b="1" dirty="0" err="1">
                <a:solidFill>
                  <a:srgbClr val="FF0000"/>
                </a:solidFill>
                <a:latin typeface="Times New Roman" panose="02020603050405020304" pitchFamily="18" charset="0"/>
                <a:cs typeface="Times New Roman" panose="02020603050405020304" pitchFamily="18" charset="0"/>
              </a:rPr>
              <a:t>người</a:t>
            </a:r>
            <a:r>
              <a:rPr lang="en-US" altLang="ko-KR" b="1" dirty="0">
                <a:solidFill>
                  <a:schemeClr val="accent1"/>
                </a:solidFill>
                <a:latin typeface="Times New Roman" panose="02020603050405020304" pitchFamily="18" charset="0"/>
                <a:cs typeface="Times New Roman" panose="02020603050405020304" pitchFamily="18" charset="0"/>
              </a:rPr>
              <a:t>).</a:t>
            </a:r>
          </a:p>
        </p:txBody>
      </p:sp>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02234" y="858791"/>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algn="ctr" defTabSz="914194">
                <a:defRPr/>
              </a:pPr>
              <a:endParaRPr lang="en-US" dirty="0">
                <a:solidFill>
                  <a:prstClr val="white"/>
                </a:solidFill>
                <a:latin typeface="Calibri Light"/>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17184" y="248582"/>
            <a:ext cx="12191999" cy="553998"/>
          </a:xfrm>
          <a:prstGeom prst="rect">
            <a:avLst/>
          </a:prstGeom>
        </p:spPr>
        <p:txBody>
          <a:bodyPr wrap="square">
            <a:spAutoFit/>
          </a:bodyPr>
          <a:lstStyle/>
          <a:p>
            <a:pPr algn="ctr" defTabSz="914377">
              <a:defRPr>
                <a:uFillTx/>
              </a:defRPr>
            </a:pPr>
            <a:r>
              <a:rPr lang="en-US" sz="3000" b="1" dirty="0">
                <a:solidFill>
                  <a:srgbClr val="164397"/>
                </a:solidFill>
                <a:latin typeface="HelveticaBlackVU" panose="00000900000000000000" pitchFamily="2" charset="0"/>
              </a:rPr>
              <a:t>CƠ CẤU LAO ĐỘNG EVN VÀ TỶ LỆ CÁN BỘ NỮ</a:t>
            </a:r>
          </a:p>
        </p:txBody>
      </p:sp>
      <p:graphicFrame>
        <p:nvGraphicFramePr>
          <p:cNvPr id="46" name="Chart 45">
            <a:extLst>
              <a:ext uri="{FF2B5EF4-FFF2-40B4-BE49-F238E27FC236}">
                <a16:creationId xmlns:a16="http://schemas.microsoft.com/office/drawing/2014/main" id="{1A419878-1931-41DE-8ECA-BEEC3140841F}"/>
              </a:ext>
            </a:extLst>
          </p:cNvPr>
          <p:cNvGraphicFramePr>
            <a:graphicFrameLocks/>
          </p:cNvGraphicFramePr>
          <p:nvPr>
            <p:extLst>
              <p:ext uri="{D42A27DB-BD31-4B8C-83A1-F6EECF244321}">
                <p14:modId xmlns:p14="http://schemas.microsoft.com/office/powerpoint/2010/main" val="2537850728"/>
              </p:ext>
            </p:extLst>
          </p:nvPr>
        </p:nvGraphicFramePr>
        <p:xfrm>
          <a:off x="5104207" y="1209817"/>
          <a:ext cx="5680985" cy="3235063"/>
        </p:xfrm>
        <a:graphic>
          <a:graphicData uri="http://schemas.openxmlformats.org/drawingml/2006/chart">
            <c:chart xmlns:c="http://schemas.openxmlformats.org/drawingml/2006/chart" xmlns:r="http://schemas.openxmlformats.org/officeDocument/2006/relationships" r:id="rId5"/>
          </a:graphicData>
        </a:graphic>
      </p:graphicFrame>
      <p:sp>
        <p:nvSpPr>
          <p:cNvPr id="21" name="TextBox 20">
            <a:extLst>
              <a:ext uri="{FF2B5EF4-FFF2-40B4-BE49-F238E27FC236}">
                <a16:creationId xmlns:a16="http://schemas.microsoft.com/office/drawing/2014/main" id="{76A19027-C81C-C88C-6B31-C8A84C532C09}"/>
              </a:ext>
            </a:extLst>
          </p:cNvPr>
          <p:cNvSpPr txBox="1"/>
          <p:nvPr/>
        </p:nvSpPr>
        <p:spPr>
          <a:xfrm>
            <a:off x="2820306" y="984309"/>
            <a:ext cx="6310562"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1">
                <a:ln>
                  <a:noFill/>
                </a:ln>
                <a:solidFill>
                  <a:srgbClr val="FF0000"/>
                </a:solidFill>
                <a:effectLst/>
                <a:uLnTx/>
                <a:uFillTx/>
                <a:latin typeface="Times New Roman" panose="02020603050405020304" pitchFamily="18" charset="0"/>
                <a:ea typeface="+mn-ea"/>
                <a:cs typeface="Times New Roman" panose="02020603050405020304" pitchFamily="18" charset="0"/>
                <a:sym typeface="Avenir Next"/>
              </a:rPr>
              <a:t>Tổng số lao động tính đến tháng 10/2023 là 95.726</a:t>
            </a:r>
            <a:r>
              <a:rPr kumimoji="0" lang="en-US" sz="1800" b="1" i="0" u="none" strike="noStrike" kern="0" cap="none" spc="0" normalizeH="0" baseline="0" noProof="1">
                <a:ln>
                  <a:noFill/>
                </a:ln>
                <a:solidFill>
                  <a:srgbClr val="44546A"/>
                </a:solidFill>
                <a:effectLst/>
                <a:uLnTx/>
                <a:uFillTx/>
                <a:latin typeface="Times New Roman" panose="02020603050405020304" pitchFamily="18" charset="0"/>
                <a:ea typeface="+mn-ea"/>
                <a:cs typeface="Times New Roman" panose="02020603050405020304" pitchFamily="18" charset="0"/>
                <a:sym typeface="Avenir Next"/>
              </a:rPr>
              <a:t> </a:t>
            </a:r>
            <a:r>
              <a:rPr kumimoji="0" lang="en-US" b="1" i="0" u="none" strike="noStrike" kern="0" cap="none" spc="0" normalizeH="0" baseline="0" noProof="1">
                <a:ln>
                  <a:noFill/>
                </a:ln>
                <a:effectLst/>
                <a:uLnTx/>
                <a:uFillTx/>
                <a:latin typeface="Times New Roman" panose="02020603050405020304" pitchFamily="18" charset="0"/>
                <a:ea typeface="+mn-ea"/>
                <a:cs typeface="Times New Roman" panose="02020603050405020304" pitchFamily="18" charset="0"/>
                <a:sym typeface="Avenir Next"/>
              </a:rPr>
              <a:t>người</a:t>
            </a:r>
            <a:endParaRPr kumimoji="0" lang="en-US" sz="1800" b="1" i="1" u="none" strike="noStrike" kern="0" cap="none" spc="0" normalizeH="0" baseline="0" noProof="1">
              <a:ln>
                <a:noFill/>
              </a:ln>
              <a:effectLst/>
              <a:uLnTx/>
              <a:uFillTx/>
              <a:latin typeface="Times New Roman" panose="02020603050405020304" pitchFamily="18" charset="0"/>
              <a:ea typeface="+mn-ea"/>
              <a:cs typeface="Times New Roman" panose="02020603050405020304" pitchFamily="18" charset="0"/>
              <a:sym typeface="Avenir Next"/>
            </a:endParaRPr>
          </a:p>
        </p:txBody>
      </p:sp>
      <p:sp>
        <p:nvSpPr>
          <p:cNvPr id="23" name="Round Same Side Corner Rectangle 12">
            <a:extLst>
              <a:ext uri="{FF2B5EF4-FFF2-40B4-BE49-F238E27FC236}">
                <a16:creationId xmlns:a16="http://schemas.microsoft.com/office/drawing/2014/main" id="{A9766F84-D16D-AFEE-07FD-2ED412CA2459}"/>
              </a:ext>
            </a:extLst>
          </p:cNvPr>
          <p:cNvSpPr/>
          <p:nvPr/>
        </p:nvSpPr>
        <p:spPr>
          <a:xfrm flipH="1" flipV="1">
            <a:off x="2116990" y="925373"/>
            <a:ext cx="250907" cy="284444"/>
          </a:xfrm>
          <a:custGeom>
            <a:avLst/>
            <a:gdLst/>
            <a:ahLst/>
            <a:cxnLst/>
            <a:rect l="l" t="t" r="r" b="b"/>
            <a:pathLst>
              <a:path w="3891831" h="3922089">
                <a:moveTo>
                  <a:pt x="1662674" y="3168351"/>
                </a:moveTo>
                <a:lnTo>
                  <a:pt x="1502829" y="3373344"/>
                </a:lnTo>
                <a:lnTo>
                  <a:pt x="2417229" y="3373344"/>
                </a:lnTo>
                <a:lnTo>
                  <a:pt x="2257384" y="3168351"/>
                </a:lnTo>
                <a:close/>
                <a:moveTo>
                  <a:pt x="2523259" y="1171504"/>
                </a:moveTo>
                <a:cubicBezTo>
                  <a:pt x="2532472" y="1171504"/>
                  <a:pt x="2541686" y="1175018"/>
                  <a:pt x="2548715" y="1182047"/>
                </a:cubicBezTo>
                <a:cubicBezTo>
                  <a:pt x="2562774" y="1196106"/>
                  <a:pt x="2562774" y="1218900"/>
                  <a:pt x="2548715" y="1232959"/>
                </a:cubicBezTo>
                <a:lnTo>
                  <a:pt x="2192302" y="1589372"/>
                </a:lnTo>
                <a:cubicBezTo>
                  <a:pt x="2215318" y="1634545"/>
                  <a:pt x="2208007" y="1691005"/>
                  <a:pt x="2170778" y="1729629"/>
                </a:cubicBezTo>
                <a:lnTo>
                  <a:pt x="1842194" y="2070527"/>
                </a:lnTo>
                <a:lnTo>
                  <a:pt x="1840602" y="2068993"/>
                </a:lnTo>
                <a:lnTo>
                  <a:pt x="1839683" y="2070526"/>
                </a:lnTo>
                <a:lnTo>
                  <a:pt x="1772706" y="2003549"/>
                </a:lnTo>
                <a:lnTo>
                  <a:pt x="1671997" y="1906478"/>
                </a:lnTo>
                <a:lnTo>
                  <a:pt x="1671997" y="2304256"/>
                </a:lnTo>
                <a:lnTo>
                  <a:pt x="519869" y="2304256"/>
                </a:lnTo>
                <a:lnTo>
                  <a:pt x="519869" y="1555463"/>
                </a:lnTo>
                <a:cubicBezTo>
                  <a:pt x="519869" y="1430811"/>
                  <a:pt x="620920" y="1329760"/>
                  <a:pt x="745572" y="1329760"/>
                </a:cubicBezTo>
                <a:lnTo>
                  <a:pt x="887110" y="1329760"/>
                </a:lnTo>
                <a:lnTo>
                  <a:pt x="1095933" y="1689800"/>
                </a:lnTo>
                <a:lnTo>
                  <a:pt x="1304756" y="1329760"/>
                </a:lnTo>
                <a:lnTo>
                  <a:pt x="1446294" y="1329760"/>
                </a:lnTo>
                <a:cubicBezTo>
                  <a:pt x="1483655" y="1329760"/>
                  <a:pt x="1518895" y="1338838"/>
                  <a:pt x="1549463" y="1355810"/>
                </a:cubicBezTo>
                <a:lnTo>
                  <a:pt x="1551429" y="1352534"/>
                </a:lnTo>
                <a:lnTo>
                  <a:pt x="1560928" y="1362033"/>
                </a:lnTo>
                <a:cubicBezTo>
                  <a:pt x="1593912" y="1380586"/>
                  <a:pt x="1621171" y="1407846"/>
                  <a:pt x="1639724" y="1440829"/>
                </a:cubicBezTo>
                <a:lnTo>
                  <a:pt x="1875719" y="1676823"/>
                </a:lnTo>
                <a:lnTo>
                  <a:pt x="1991438" y="1556767"/>
                </a:lnTo>
                <a:cubicBezTo>
                  <a:pt x="2032038" y="1514646"/>
                  <a:pt x="2095142" y="1507302"/>
                  <a:pt x="2142374" y="1537477"/>
                </a:cubicBezTo>
                <a:lnTo>
                  <a:pt x="2497803" y="1182047"/>
                </a:lnTo>
                <a:cubicBezTo>
                  <a:pt x="2504833" y="1175018"/>
                  <a:pt x="2514046" y="1171504"/>
                  <a:pt x="2523259" y="1171504"/>
                </a:cubicBezTo>
                <a:close/>
                <a:moveTo>
                  <a:pt x="3270424" y="602451"/>
                </a:moveTo>
                <a:cubicBezTo>
                  <a:pt x="3365959" y="700507"/>
                  <a:pt x="3424268" y="834597"/>
                  <a:pt x="3424268" y="982306"/>
                </a:cubicBezTo>
                <a:lnTo>
                  <a:pt x="2890568" y="982307"/>
                </a:lnTo>
                <a:close/>
                <a:moveTo>
                  <a:pt x="1095932" y="477151"/>
                </a:moveTo>
                <a:cubicBezTo>
                  <a:pt x="1287178" y="477151"/>
                  <a:pt x="1442214" y="632187"/>
                  <a:pt x="1442214" y="823433"/>
                </a:cubicBezTo>
                <a:cubicBezTo>
                  <a:pt x="1442214" y="1014679"/>
                  <a:pt x="1287178" y="1169715"/>
                  <a:pt x="1095932" y="1169715"/>
                </a:cubicBezTo>
                <a:cubicBezTo>
                  <a:pt x="904686" y="1169715"/>
                  <a:pt x="749650" y="1014679"/>
                  <a:pt x="749650" y="823433"/>
                </a:cubicBezTo>
                <a:cubicBezTo>
                  <a:pt x="749650" y="632187"/>
                  <a:pt x="904686" y="477151"/>
                  <a:pt x="1095932" y="477151"/>
                </a:cubicBezTo>
                <a:close/>
                <a:moveTo>
                  <a:pt x="2797293" y="477150"/>
                </a:moveTo>
                <a:cubicBezTo>
                  <a:pt x="2797293" y="660228"/>
                  <a:pt x="2797294" y="843306"/>
                  <a:pt x="2797294" y="1026384"/>
                </a:cubicBezTo>
                <a:lnTo>
                  <a:pt x="3346527" y="1026384"/>
                </a:lnTo>
                <a:cubicBezTo>
                  <a:pt x="3346527" y="1329718"/>
                  <a:pt x="3100627" y="1575618"/>
                  <a:pt x="2797293" y="1575618"/>
                </a:cubicBezTo>
                <a:cubicBezTo>
                  <a:pt x="2647814" y="1575618"/>
                  <a:pt x="2512282" y="1515904"/>
                  <a:pt x="2413635" y="1418636"/>
                </a:cubicBezTo>
                <a:lnTo>
                  <a:pt x="2585415" y="1246856"/>
                </a:lnTo>
                <a:cubicBezTo>
                  <a:pt x="2612360" y="1219912"/>
                  <a:pt x="2612360" y="1176226"/>
                  <a:pt x="2585415" y="1149281"/>
                </a:cubicBezTo>
                <a:cubicBezTo>
                  <a:pt x="2558471" y="1122337"/>
                  <a:pt x="2514785" y="1122337"/>
                  <a:pt x="2487840" y="1149281"/>
                </a:cubicBezTo>
                <a:lnTo>
                  <a:pt x="2328419" y="1308703"/>
                </a:lnTo>
                <a:cubicBezTo>
                  <a:pt x="2276781" y="1227012"/>
                  <a:pt x="2248059" y="1130052"/>
                  <a:pt x="2248059" y="1026384"/>
                </a:cubicBezTo>
                <a:cubicBezTo>
                  <a:pt x="2248059" y="723050"/>
                  <a:pt x="2493959" y="477150"/>
                  <a:pt x="2797293" y="477150"/>
                </a:cubicBezTo>
                <a:close/>
                <a:moveTo>
                  <a:pt x="2842770" y="361048"/>
                </a:moveTo>
                <a:cubicBezTo>
                  <a:pt x="2979660" y="362831"/>
                  <a:pt x="3115706" y="416416"/>
                  <a:pt x="3220152" y="520862"/>
                </a:cubicBezTo>
                <a:lnTo>
                  <a:pt x="2842770" y="898246"/>
                </a:lnTo>
                <a:close/>
                <a:moveTo>
                  <a:pt x="745283" y="252264"/>
                </a:moveTo>
                <a:cubicBezTo>
                  <a:pt x="540043" y="252264"/>
                  <a:pt x="373664" y="418643"/>
                  <a:pt x="373664" y="623883"/>
                </a:cubicBezTo>
                <a:lnTo>
                  <a:pt x="373664" y="2481932"/>
                </a:lnTo>
                <a:lnTo>
                  <a:pt x="3505664" y="2481932"/>
                </a:lnTo>
                <a:lnTo>
                  <a:pt x="3505664" y="623883"/>
                </a:lnTo>
                <a:cubicBezTo>
                  <a:pt x="3505664" y="418643"/>
                  <a:pt x="3339285" y="252264"/>
                  <a:pt x="3134045" y="252264"/>
                </a:cubicBezTo>
                <a:close/>
                <a:moveTo>
                  <a:pt x="561239" y="0"/>
                </a:moveTo>
                <a:lnTo>
                  <a:pt x="3333911" y="0"/>
                </a:lnTo>
                <a:cubicBezTo>
                  <a:pt x="3562371" y="0"/>
                  <a:pt x="3747575" y="185204"/>
                  <a:pt x="3747575" y="413664"/>
                </a:cubicBezTo>
                <a:lnTo>
                  <a:pt x="3747575" y="2481932"/>
                </a:lnTo>
                <a:lnTo>
                  <a:pt x="3751166" y="2481932"/>
                </a:lnTo>
                <a:lnTo>
                  <a:pt x="3891831" y="3528390"/>
                </a:lnTo>
                <a:lnTo>
                  <a:pt x="3891831" y="3528390"/>
                </a:lnTo>
                <a:lnTo>
                  <a:pt x="3891831" y="3528392"/>
                </a:lnTo>
                <a:lnTo>
                  <a:pt x="3891831" y="3725239"/>
                </a:lnTo>
                <a:cubicBezTo>
                  <a:pt x="3891831" y="3833956"/>
                  <a:pt x="3803698" y="3922089"/>
                  <a:pt x="3694981" y="3922089"/>
                </a:cubicBezTo>
                <a:lnTo>
                  <a:pt x="196850" y="3922089"/>
                </a:lnTo>
                <a:cubicBezTo>
                  <a:pt x="88133" y="3922089"/>
                  <a:pt x="0" y="3833956"/>
                  <a:pt x="0" y="3725239"/>
                </a:cubicBezTo>
                <a:cubicBezTo>
                  <a:pt x="0" y="3659623"/>
                  <a:pt x="1" y="3594006"/>
                  <a:pt x="1" y="3528390"/>
                </a:cubicBezTo>
                <a:lnTo>
                  <a:pt x="3399" y="3528390"/>
                </a:lnTo>
                <a:lnTo>
                  <a:pt x="144064" y="2481932"/>
                </a:lnTo>
                <a:lnTo>
                  <a:pt x="147575" y="2481932"/>
                </a:lnTo>
                <a:lnTo>
                  <a:pt x="147575" y="413664"/>
                </a:lnTo>
                <a:cubicBezTo>
                  <a:pt x="147575" y="185204"/>
                  <a:pt x="332779" y="0"/>
                  <a:pt x="5612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mn-ea"/>
              <a:cs typeface="+mn-cs"/>
            </a:endParaRPr>
          </a:p>
        </p:txBody>
      </p:sp>
      <p:sp>
        <p:nvSpPr>
          <p:cNvPr id="19" name="TextBox 18">
            <a:extLst>
              <a:ext uri="{FF2B5EF4-FFF2-40B4-BE49-F238E27FC236}">
                <a16:creationId xmlns:a16="http://schemas.microsoft.com/office/drawing/2014/main" id="{76A19027-C81C-C88C-6B31-C8A84C532C09}"/>
              </a:ext>
            </a:extLst>
          </p:cNvPr>
          <p:cNvSpPr txBox="1"/>
          <p:nvPr/>
        </p:nvSpPr>
        <p:spPr>
          <a:xfrm>
            <a:off x="341537" y="1579152"/>
            <a:ext cx="921408"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1">
                <a:ln>
                  <a:noFill/>
                </a:ln>
                <a:solidFill>
                  <a:srgbClr val="FF0000"/>
                </a:solidFill>
                <a:effectLst/>
                <a:uLnTx/>
                <a:uFillTx/>
                <a:latin typeface="Times New Roman" panose="02020603050405020304" pitchFamily="18" charset="0"/>
                <a:ea typeface="+mn-ea"/>
                <a:cs typeface="Times New Roman" panose="02020603050405020304" pitchFamily="18" charset="0"/>
                <a:sym typeface="Avenir Next"/>
              </a:rPr>
              <a:t>Số</a:t>
            </a:r>
            <a:r>
              <a:rPr kumimoji="0" lang="en-US" sz="1800" b="1" i="0" u="none" strike="noStrike" kern="0" cap="none" spc="0" normalizeH="0" noProof="1">
                <a:ln>
                  <a:noFill/>
                </a:ln>
                <a:solidFill>
                  <a:srgbClr val="FF0000"/>
                </a:solidFill>
                <a:effectLst/>
                <a:uLnTx/>
                <a:uFillTx/>
                <a:latin typeface="Times New Roman" panose="02020603050405020304" pitchFamily="18" charset="0"/>
                <a:ea typeface="+mn-ea"/>
                <a:cs typeface="Times New Roman" panose="02020603050405020304" pitchFamily="18" charset="0"/>
                <a:sym typeface="Avenir Next"/>
              </a:rPr>
              <a:t> liệu</a:t>
            </a:r>
            <a:endParaRPr kumimoji="0" lang="en-US" sz="1800" b="1" i="1" u="none" strike="noStrike" kern="0" cap="none" spc="0" normalizeH="0" baseline="0" noProof="1">
              <a:ln>
                <a:noFill/>
              </a:ln>
              <a:solidFill>
                <a:srgbClr val="44546A"/>
              </a:solidFill>
              <a:effectLst/>
              <a:uLnTx/>
              <a:uFillTx/>
              <a:latin typeface="Times New Roman" panose="02020603050405020304" pitchFamily="18" charset="0"/>
              <a:ea typeface="+mn-ea"/>
              <a:cs typeface="Times New Roman" panose="02020603050405020304" pitchFamily="18" charset="0"/>
              <a:sym typeface="Avenir Next"/>
            </a:endParaRPr>
          </a:p>
        </p:txBody>
      </p:sp>
      <p:sp>
        <p:nvSpPr>
          <p:cNvPr id="20" name="TextBox 19">
            <a:extLst>
              <a:ext uri="{FF2B5EF4-FFF2-40B4-BE49-F238E27FC236}">
                <a16:creationId xmlns:a16="http://schemas.microsoft.com/office/drawing/2014/main" id="{76A19027-C81C-C88C-6B31-C8A84C532C09}"/>
              </a:ext>
            </a:extLst>
          </p:cNvPr>
          <p:cNvSpPr txBox="1"/>
          <p:nvPr/>
        </p:nvSpPr>
        <p:spPr>
          <a:xfrm>
            <a:off x="4201138" y="1507006"/>
            <a:ext cx="921408"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1">
                <a:ln>
                  <a:noFill/>
                </a:ln>
                <a:solidFill>
                  <a:srgbClr val="FF0000"/>
                </a:solidFill>
                <a:effectLst/>
                <a:uLnTx/>
                <a:uFillTx/>
                <a:latin typeface="Times New Roman" panose="02020603050405020304" pitchFamily="18" charset="0"/>
                <a:ea typeface="+mn-ea"/>
                <a:cs typeface="Times New Roman" panose="02020603050405020304" pitchFamily="18" charset="0"/>
                <a:sym typeface="Avenir Next"/>
              </a:rPr>
              <a:t>Số</a:t>
            </a:r>
            <a:r>
              <a:rPr kumimoji="0" lang="en-US" sz="1800" b="1" i="0" u="none" strike="noStrike" kern="0" cap="none" spc="0" normalizeH="0" noProof="1">
                <a:ln>
                  <a:noFill/>
                </a:ln>
                <a:solidFill>
                  <a:srgbClr val="FF0000"/>
                </a:solidFill>
                <a:effectLst/>
                <a:uLnTx/>
                <a:uFillTx/>
                <a:latin typeface="Times New Roman" panose="02020603050405020304" pitchFamily="18" charset="0"/>
                <a:ea typeface="+mn-ea"/>
                <a:cs typeface="Times New Roman" panose="02020603050405020304" pitchFamily="18" charset="0"/>
                <a:sym typeface="Avenir Next"/>
              </a:rPr>
              <a:t> liệu</a:t>
            </a:r>
            <a:endParaRPr kumimoji="0" lang="en-US" sz="1800" b="1" i="1" u="none" strike="noStrike" kern="0" cap="none" spc="0" normalizeH="0" baseline="0" noProof="1">
              <a:ln>
                <a:noFill/>
              </a:ln>
              <a:solidFill>
                <a:srgbClr val="44546A"/>
              </a:solidFill>
              <a:effectLst/>
              <a:uLnTx/>
              <a:uFillTx/>
              <a:latin typeface="Times New Roman" panose="02020603050405020304" pitchFamily="18" charset="0"/>
              <a:ea typeface="+mn-ea"/>
              <a:cs typeface="Times New Roman" panose="02020603050405020304" pitchFamily="18" charset="0"/>
              <a:sym typeface="Avenir Next"/>
            </a:endParaRPr>
          </a:p>
        </p:txBody>
      </p:sp>
    </p:spTree>
    <p:extLst>
      <p:ext uri="{BB962C8B-B14F-4D97-AF65-F5344CB8AC3E}">
        <p14:creationId xmlns:p14="http://schemas.microsoft.com/office/powerpoint/2010/main" val="1202575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44B3FE-0426-4DD7-8F0C-4206A07EEE72}"/>
              </a:ext>
            </a:extLst>
          </p:cNvPr>
          <p:cNvSpPr/>
          <p:nvPr/>
        </p:nvSpPr>
        <p:spPr>
          <a:xfrm>
            <a:off x="30275" y="191141"/>
            <a:ext cx="1219199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uFillTx/>
              </a:defRPr>
            </a:pPr>
            <a:r>
              <a:rPr kumimoji="0" lang="en-US" sz="23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rPr>
              <a:t>MỘT SỐ TỒN TẠI TRONG THỰC HIỆN KẾ HOẠCH BÌNH ĐẲNG GIỚI </a:t>
            </a:r>
          </a:p>
        </p:txBody>
      </p:sp>
      <p:grpSp>
        <p:nvGrpSpPr>
          <p:cNvPr id="8" name="Group 7">
            <a:extLst>
              <a:ext uri="{FF2B5EF4-FFF2-40B4-BE49-F238E27FC236}">
                <a16:creationId xmlns:a16="http://schemas.microsoft.com/office/drawing/2014/main" id="{79A180A0-C227-4066-95E6-254CCF47F5DD}"/>
              </a:ext>
            </a:extLst>
          </p:cNvPr>
          <p:cNvGrpSpPr/>
          <p:nvPr/>
        </p:nvGrpSpPr>
        <p:grpSpPr>
          <a:xfrm>
            <a:off x="5422632" y="799415"/>
            <a:ext cx="1369406" cy="36576"/>
            <a:chOff x="1775295" y="2020905"/>
            <a:chExt cx="3631535" cy="45719"/>
          </a:xfrm>
        </p:grpSpPr>
        <p:sp>
          <p:nvSpPr>
            <p:cNvPr id="9" name="Rectangle 8">
              <a:extLst>
                <a:ext uri="{FF2B5EF4-FFF2-40B4-BE49-F238E27FC236}">
                  <a16:creationId xmlns:a16="http://schemas.microsoft.com/office/drawing/2014/main" id="{8A30EC37-704A-4D9E-84C5-BCAB2D7CDDB6}"/>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 name="Rectangle 9">
              <a:extLst>
                <a:ext uri="{FF2B5EF4-FFF2-40B4-BE49-F238E27FC236}">
                  <a16:creationId xmlns:a16="http://schemas.microsoft.com/office/drawing/2014/main" id="{F3C2CF73-7006-426D-84A0-AD3D5A105178}"/>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1" name="Rectangle 10">
              <a:extLst>
                <a:ext uri="{FF2B5EF4-FFF2-40B4-BE49-F238E27FC236}">
                  <a16:creationId xmlns:a16="http://schemas.microsoft.com/office/drawing/2014/main" id="{E1038B2A-33EA-45FC-8CB5-B6497ACEF530}"/>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2" name="Rectangle 11">
              <a:extLst>
                <a:ext uri="{FF2B5EF4-FFF2-40B4-BE49-F238E27FC236}">
                  <a16:creationId xmlns:a16="http://schemas.microsoft.com/office/drawing/2014/main" id="{65ACF2A6-CF63-46B4-8A89-8FDC458CB25E}"/>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3" name="Rectangle 12">
              <a:extLst>
                <a:ext uri="{FF2B5EF4-FFF2-40B4-BE49-F238E27FC236}">
                  <a16:creationId xmlns:a16="http://schemas.microsoft.com/office/drawing/2014/main" id="{74AA07E5-C83E-4935-9BA4-83873155C450}"/>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4" name="Rectangle 13">
              <a:extLst>
                <a:ext uri="{FF2B5EF4-FFF2-40B4-BE49-F238E27FC236}">
                  <a16:creationId xmlns:a16="http://schemas.microsoft.com/office/drawing/2014/main" id="{D9B5008D-983F-4C1E-B01D-16694F057A64}"/>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grpSp>
        <p:nvGrpSpPr>
          <p:cNvPr id="27" name="Group 26">
            <a:extLst>
              <a:ext uri="{FF2B5EF4-FFF2-40B4-BE49-F238E27FC236}">
                <a16:creationId xmlns:a16="http://schemas.microsoft.com/office/drawing/2014/main" id="{12EEFADC-C2E2-4BF8-8675-4642EF070BDE}"/>
              </a:ext>
            </a:extLst>
          </p:cNvPr>
          <p:cNvGrpSpPr/>
          <p:nvPr/>
        </p:nvGrpSpPr>
        <p:grpSpPr>
          <a:xfrm>
            <a:off x="3977762" y="3065470"/>
            <a:ext cx="7985638" cy="763789"/>
            <a:chOff x="1758830" y="1709816"/>
            <a:chExt cx="2741161" cy="763789"/>
          </a:xfrm>
        </p:grpSpPr>
        <p:sp>
          <p:nvSpPr>
            <p:cNvPr id="28" name="TextBox 27">
              <a:extLst>
                <a:ext uri="{FF2B5EF4-FFF2-40B4-BE49-F238E27FC236}">
                  <a16:creationId xmlns:a16="http://schemas.microsoft.com/office/drawing/2014/main" id="{4454137D-2791-4707-827D-F43167C3DBCD}"/>
                </a:ext>
              </a:extLst>
            </p:cNvPr>
            <p:cNvSpPr txBox="1"/>
            <p:nvPr/>
          </p:nvSpPr>
          <p:spPr>
            <a:xfrm>
              <a:off x="1758830" y="2073495"/>
              <a:ext cx="2741158" cy="400110"/>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2000" b="0" i="0" u="none" strike="noStrike" kern="0" cap="none" spc="0" normalizeH="0" baseline="0" noProof="0" dirty="0">
                <a:ln>
                  <a:noFill/>
                </a:ln>
                <a:solidFill>
                  <a:srgbClr val="ED7D31"/>
                </a:solidFill>
                <a:effectLst/>
                <a:uLnTx/>
                <a:uFillTx/>
                <a:latin typeface="Times New Roman" panose="02020603050405020304" pitchFamily="18" charset="0"/>
                <a:ea typeface="+mn-ea"/>
                <a:cs typeface="Times New Roman" panose="02020603050405020304" pitchFamily="18" charset="0"/>
              </a:endParaRPr>
            </a:p>
          </p:txBody>
        </p:sp>
        <p:sp>
          <p:nvSpPr>
            <p:cNvPr id="29" name="TextBox 28">
              <a:extLst>
                <a:ext uri="{FF2B5EF4-FFF2-40B4-BE49-F238E27FC236}">
                  <a16:creationId xmlns:a16="http://schemas.microsoft.com/office/drawing/2014/main" id="{E1AFC78B-56A1-4B57-8C5F-D3A5C932785F}"/>
                </a:ext>
              </a:extLst>
            </p:cNvPr>
            <p:cNvSpPr txBox="1"/>
            <p:nvPr/>
          </p:nvSpPr>
          <p:spPr>
            <a:xfrm>
              <a:off x="1758833" y="1709816"/>
              <a:ext cx="274115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000" b="1" i="0" u="none" strike="noStrike" kern="1200" cap="none" spc="0" normalizeH="0" baseline="0" noProof="0" dirty="0">
                <a:ln>
                  <a:noFill/>
                </a:ln>
                <a:solidFill>
                  <a:srgbClr val="ED7D31"/>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sp>
        <p:nvSpPr>
          <p:cNvPr id="32" name="TextBox 31">
            <a:extLst>
              <a:ext uri="{FF2B5EF4-FFF2-40B4-BE49-F238E27FC236}">
                <a16:creationId xmlns:a16="http://schemas.microsoft.com/office/drawing/2014/main" id="{E79650C5-4100-4868-82D3-EDDB5830F9FB}"/>
              </a:ext>
            </a:extLst>
          </p:cNvPr>
          <p:cNvSpPr txBox="1"/>
          <p:nvPr/>
        </p:nvSpPr>
        <p:spPr>
          <a:xfrm>
            <a:off x="4684345" y="5142526"/>
            <a:ext cx="72028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2000" b="1" i="0" u="none" strike="noStrike" kern="1200" cap="none" spc="0" normalizeH="0" baseline="0" noProof="0" dirty="0">
              <a:ln>
                <a:noFill/>
              </a:ln>
              <a:solidFill>
                <a:srgbClr val="70AD47"/>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nvGrpSpPr>
          <p:cNvPr id="33" name="Group 32">
            <a:extLst>
              <a:ext uri="{FF2B5EF4-FFF2-40B4-BE49-F238E27FC236}">
                <a16:creationId xmlns:a16="http://schemas.microsoft.com/office/drawing/2014/main" id="{9AC11E50-A5B4-4573-A215-022770BF3253}"/>
              </a:ext>
            </a:extLst>
          </p:cNvPr>
          <p:cNvGrpSpPr/>
          <p:nvPr/>
        </p:nvGrpSpPr>
        <p:grpSpPr>
          <a:xfrm>
            <a:off x="724912" y="1620845"/>
            <a:ext cx="11333044" cy="587121"/>
            <a:chOff x="1728992" y="1889897"/>
            <a:chExt cx="2741158" cy="656852"/>
          </a:xfrm>
        </p:grpSpPr>
        <p:sp>
          <p:nvSpPr>
            <p:cNvPr id="34" name="TextBox 33">
              <a:extLst>
                <a:ext uri="{FF2B5EF4-FFF2-40B4-BE49-F238E27FC236}">
                  <a16:creationId xmlns:a16="http://schemas.microsoft.com/office/drawing/2014/main" id="{D48E113B-CB6A-40FF-9EA9-E77A3FA0D3FD}"/>
                </a:ext>
              </a:extLst>
            </p:cNvPr>
            <p:cNvSpPr txBox="1"/>
            <p:nvPr/>
          </p:nvSpPr>
          <p:spPr>
            <a:xfrm>
              <a:off x="1728992" y="2099119"/>
              <a:ext cx="2741158" cy="447630"/>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2000" b="0" i="0" u="none" strike="noStrike" kern="1200" cap="none" spc="0" normalizeH="0" baseline="0" noProof="0" dirty="0">
                <a:ln>
                  <a:noFill/>
                </a:ln>
                <a:solidFill>
                  <a:srgbClr val="4472C4"/>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35" name="TextBox 34">
              <a:extLst>
                <a:ext uri="{FF2B5EF4-FFF2-40B4-BE49-F238E27FC236}">
                  <a16:creationId xmlns:a16="http://schemas.microsoft.com/office/drawing/2014/main" id="{B9E77E89-3C78-4D11-BA6E-75A9883792F4}"/>
                </a:ext>
              </a:extLst>
            </p:cNvPr>
            <p:cNvSpPr txBox="1"/>
            <p:nvPr/>
          </p:nvSpPr>
          <p:spPr>
            <a:xfrm>
              <a:off x="1767185" y="1889897"/>
              <a:ext cx="2664771" cy="4476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Số</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lao</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động</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nữ</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tuyển</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dụng</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hàng</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năm</a:t>
              </a:r>
              <a:r>
                <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 </a:t>
              </a:r>
              <a:r>
                <a:rPr kumimoji="0" lang="en-US" altLang="ko-KR" sz="2000" b="1" i="0" u="none" strike="noStrike" kern="1200" cap="none" spc="0" normalizeH="0" baseline="0" noProof="0" dirty="0" err="1">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rPr>
                <a:t>chưa</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bằng</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số</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lao</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động</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nghỉ</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r>
                <a:rPr lang="en-US" altLang="ko-KR" sz="2000" b="1" dirty="0" err="1">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việc</a:t>
              </a:r>
              <a:r>
                <a:rPr lang="en-US" altLang="ko-KR" sz="2000" b="1" dirty="0">
                  <a:solidFill>
                    <a:srgbClr val="4472C4"/>
                  </a:solidFill>
                  <a:latin typeface="Times New Roman" panose="02020603050405020304" pitchFamily="18" charset="0"/>
                  <a:ea typeface="맑은 고딕" panose="020B0503020000020004" pitchFamily="34" charset="-127"/>
                  <a:cs typeface="Times New Roman" panose="02020603050405020304" pitchFamily="18" charset="0"/>
                </a:rPr>
                <a:t> </a:t>
              </a:r>
              <a:endParaRPr kumimoji="0" lang="en-US" altLang="ko-KR" sz="2000" b="1" i="0" u="none" strike="noStrike" kern="1200" cap="none" spc="0" normalizeH="0" baseline="0" noProof="0" dirty="0">
                <a:ln>
                  <a:noFill/>
                </a:ln>
                <a:solidFill>
                  <a:srgbClr val="4472C4"/>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grpSp>
      <p:sp>
        <p:nvSpPr>
          <p:cNvPr id="37" name="Rounded Rectangle 7">
            <a:extLst>
              <a:ext uri="{FF2B5EF4-FFF2-40B4-BE49-F238E27FC236}">
                <a16:creationId xmlns:a16="http://schemas.microsoft.com/office/drawing/2014/main" id="{148A70F5-3693-4CE7-916C-A16C3C08953F}"/>
              </a:ext>
            </a:extLst>
          </p:cNvPr>
          <p:cNvSpPr/>
          <p:nvPr/>
        </p:nvSpPr>
        <p:spPr>
          <a:xfrm>
            <a:off x="1292331" y="4087491"/>
            <a:ext cx="322437" cy="278259"/>
          </a:xfrm>
          <a:custGeom>
            <a:avLst/>
            <a:gdLst/>
            <a:ahLst/>
            <a:cxnLst/>
            <a:rect l="l" t="t" r="r" b="b"/>
            <a:pathLst>
              <a:path w="3240006" h="2796091">
                <a:moveTo>
                  <a:pt x="686867" y="612319"/>
                </a:moveTo>
                <a:cubicBezTo>
                  <a:pt x="611281" y="612319"/>
                  <a:pt x="550007" y="673593"/>
                  <a:pt x="550007" y="749179"/>
                </a:cubicBezTo>
                <a:cubicBezTo>
                  <a:pt x="550007" y="824765"/>
                  <a:pt x="611281" y="886039"/>
                  <a:pt x="686867" y="886039"/>
                </a:cubicBezTo>
                <a:cubicBezTo>
                  <a:pt x="762453" y="886039"/>
                  <a:pt x="823727" y="824765"/>
                  <a:pt x="823727" y="749179"/>
                </a:cubicBezTo>
                <a:cubicBezTo>
                  <a:pt x="823727" y="673593"/>
                  <a:pt x="762453" y="612319"/>
                  <a:pt x="686867" y="612319"/>
                </a:cubicBezTo>
                <a:close/>
                <a:moveTo>
                  <a:pt x="1587500" y="281447"/>
                </a:moveTo>
                <a:cubicBezTo>
                  <a:pt x="1432061" y="281447"/>
                  <a:pt x="1306053" y="407455"/>
                  <a:pt x="1306053" y="562894"/>
                </a:cubicBezTo>
                <a:cubicBezTo>
                  <a:pt x="1306053" y="718333"/>
                  <a:pt x="1432061" y="844341"/>
                  <a:pt x="1587500" y="844341"/>
                </a:cubicBezTo>
                <a:cubicBezTo>
                  <a:pt x="1742939" y="844341"/>
                  <a:pt x="1868947" y="718333"/>
                  <a:pt x="1868947" y="562894"/>
                </a:cubicBezTo>
                <a:cubicBezTo>
                  <a:pt x="1868947" y="407455"/>
                  <a:pt x="1742939" y="281447"/>
                  <a:pt x="1587500" y="281447"/>
                </a:cubicBezTo>
                <a:close/>
                <a:moveTo>
                  <a:pt x="1587500" y="0"/>
                </a:moveTo>
                <a:cubicBezTo>
                  <a:pt x="1898378" y="0"/>
                  <a:pt x="2150394" y="252016"/>
                  <a:pt x="2150394" y="562894"/>
                </a:cubicBezTo>
                <a:cubicBezTo>
                  <a:pt x="2150394" y="786167"/>
                  <a:pt x="2020401" y="979078"/>
                  <a:pt x="1831095" y="1068260"/>
                </a:cubicBezTo>
                <a:lnTo>
                  <a:pt x="2215710" y="1068260"/>
                </a:lnTo>
                <a:cubicBezTo>
                  <a:pt x="2374756" y="1068260"/>
                  <a:pt x="2503688" y="1197192"/>
                  <a:pt x="2503688" y="1356238"/>
                </a:cubicBezTo>
                <a:lnTo>
                  <a:pt x="2503688" y="1474975"/>
                </a:lnTo>
                <a:lnTo>
                  <a:pt x="2656086" y="1474975"/>
                </a:lnTo>
                <a:cubicBezTo>
                  <a:pt x="2692420" y="1474975"/>
                  <a:pt x="2722815" y="1500405"/>
                  <a:pt x="2728975" y="1534767"/>
                </a:cubicBezTo>
                <a:lnTo>
                  <a:pt x="3240006" y="1109804"/>
                </a:lnTo>
                <a:lnTo>
                  <a:pt x="3240006" y="2754548"/>
                </a:lnTo>
                <a:lnTo>
                  <a:pt x="2728975" y="2329585"/>
                </a:lnTo>
                <a:cubicBezTo>
                  <a:pt x="2722815" y="2363946"/>
                  <a:pt x="2692420" y="2389375"/>
                  <a:pt x="2656086" y="2389375"/>
                </a:cubicBezTo>
                <a:lnTo>
                  <a:pt x="2503688" y="2389375"/>
                </a:lnTo>
                <a:lnTo>
                  <a:pt x="2503688" y="2508113"/>
                </a:lnTo>
                <a:cubicBezTo>
                  <a:pt x="2503688" y="2667159"/>
                  <a:pt x="2374756" y="2796091"/>
                  <a:pt x="2215710" y="2796091"/>
                </a:cubicBezTo>
                <a:lnTo>
                  <a:pt x="287978" y="2796091"/>
                </a:lnTo>
                <a:cubicBezTo>
                  <a:pt x="128932" y="2796091"/>
                  <a:pt x="0" y="2667159"/>
                  <a:pt x="0" y="2508113"/>
                </a:cubicBezTo>
                <a:lnTo>
                  <a:pt x="0" y="1356238"/>
                </a:lnTo>
                <a:cubicBezTo>
                  <a:pt x="0" y="1197192"/>
                  <a:pt x="128932" y="1068260"/>
                  <a:pt x="287978" y="1068260"/>
                </a:cubicBezTo>
                <a:lnTo>
                  <a:pt x="544513" y="1068260"/>
                </a:lnTo>
                <a:cubicBezTo>
                  <a:pt x="422089" y="1014226"/>
                  <a:pt x="336949" y="891645"/>
                  <a:pt x="336949" y="749179"/>
                </a:cubicBezTo>
                <a:cubicBezTo>
                  <a:pt x="336949" y="555925"/>
                  <a:pt x="493613" y="399261"/>
                  <a:pt x="686867" y="399261"/>
                </a:cubicBezTo>
                <a:cubicBezTo>
                  <a:pt x="880121" y="399261"/>
                  <a:pt x="1036785" y="555925"/>
                  <a:pt x="1036785" y="749179"/>
                </a:cubicBezTo>
                <a:cubicBezTo>
                  <a:pt x="1036785" y="891645"/>
                  <a:pt x="951645" y="1014226"/>
                  <a:pt x="829222" y="1068260"/>
                </a:cubicBezTo>
                <a:lnTo>
                  <a:pt x="1343906" y="1068260"/>
                </a:lnTo>
                <a:cubicBezTo>
                  <a:pt x="1154600" y="979078"/>
                  <a:pt x="1024606" y="786167"/>
                  <a:pt x="1024606" y="562894"/>
                </a:cubicBezTo>
                <a:cubicBezTo>
                  <a:pt x="1024606" y="252016"/>
                  <a:pt x="1276622" y="0"/>
                  <a:pt x="15875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8" name="Round Same Side Corner Rectangle 36">
            <a:extLst>
              <a:ext uri="{FF2B5EF4-FFF2-40B4-BE49-F238E27FC236}">
                <a16:creationId xmlns:a16="http://schemas.microsoft.com/office/drawing/2014/main" id="{DBF38622-D4BF-4A44-A6E9-F7C66F38723F}"/>
              </a:ext>
            </a:extLst>
          </p:cNvPr>
          <p:cNvSpPr/>
          <p:nvPr/>
        </p:nvSpPr>
        <p:spPr>
          <a:xfrm>
            <a:off x="4063240" y="5420447"/>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2000"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39" name="TextBox 38">
            <a:extLst>
              <a:ext uri="{FF2B5EF4-FFF2-40B4-BE49-F238E27FC236}">
                <a16:creationId xmlns:a16="http://schemas.microsoft.com/office/drawing/2014/main" id="{BD6AC7C3-AB4D-4DE0-95CB-1AE22AE7711E}"/>
              </a:ext>
            </a:extLst>
          </p:cNvPr>
          <p:cNvSpPr txBox="1"/>
          <p:nvPr/>
        </p:nvSpPr>
        <p:spPr>
          <a:xfrm>
            <a:off x="986721" y="992040"/>
            <a:ext cx="93454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3686C2"/>
                </a:solidFill>
                <a:effectLst/>
                <a:uLnTx/>
                <a:uFillTx/>
                <a:latin typeface="Times New Roman" panose="02020603050405020304" pitchFamily="18" charset="0"/>
                <a:ea typeface="+mn-ea"/>
                <a:cs typeface="Times New Roman" panose="02020603050405020304" pitchFamily="18" charset="0"/>
              </a:rPr>
              <a:t>TUYỂN DỤNG </a:t>
            </a:r>
          </a:p>
        </p:txBody>
      </p:sp>
      <p:pic>
        <p:nvPicPr>
          <p:cNvPr id="41" name="Picture 2" descr="D:\backup07102013\o dia D\O D xin\logo EVN.jpg">
            <a:extLst>
              <a:ext uri="{FF2B5EF4-FFF2-40B4-BE49-F238E27FC236}">
                <a16:creationId xmlns:a16="http://schemas.microsoft.com/office/drawing/2014/main" id="{AE4D6FAE-0A8F-45B5-B9D3-D803A3FDB33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 Same Side Corner Rectangle 36">
            <a:extLst>
              <a:ext uri="{FF2B5EF4-FFF2-40B4-BE49-F238E27FC236}">
                <a16:creationId xmlns:a16="http://schemas.microsoft.com/office/drawing/2014/main" id="{25E34A3D-9615-416A-9F8E-0B09BFE7B32F}"/>
              </a:ext>
            </a:extLst>
          </p:cNvPr>
          <p:cNvSpPr/>
          <p:nvPr/>
        </p:nvSpPr>
        <p:spPr>
          <a:xfrm>
            <a:off x="3335874" y="3279920"/>
            <a:ext cx="327620" cy="259022"/>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맑은 고딕" panose="020B0503020000020004" pitchFamily="34" charset="-127"/>
              <a:cs typeface="Times New Roman" panose="02020603050405020304" pitchFamily="18" charset="0"/>
            </a:endParaRPr>
          </a:p>
        </p:txBody>
      </p:sp>
      <p:sp>
        <p:nvSpPr>
          <p:cNvPr id="24" name="TextBox 23">
            <a:extLst>
              <a:ext uri="{FF2B5EF4-FFF2-40B4-BE49-F238E27FC236}">
                <a16:creationId xmlns:a16="http://schemas.microsoft.com/office/drawing/2014/main" id="{7B948166-1D35-404D-8B93-E8055D79B2AD}"/>
              </a:ext>
            </a:extLst>
          </p:cNvPr>
          <p:cNvSpPr txBox="1"/>
          <p:nvPr/>
        </p:nvSpPr>
        <p:spPr>
          <a:xfrm>
            <a:off x="882817" y="2280429"/>
            <a:ext cx="10848581" cy="3262432"/>
          </a:xfrm>
          <a:prstGeom prst="rect">
            <a:avLst/>
          </a:prstGeom>
          <a:noFill/>
        </p:spPr>
        <p:txBody>
          <a:bodyPr wrap="square" rtlCol="0" anchor="t">
            <a:spAutoFit/>
          </a:bodyPr>
          <a:lstStyle/>
          <a:p>
            <a:pPr lvl="0" algn="just">
              <a:spcBef>
                <a:spcPts val="600"/>
              </a:spcBef>
              <a:spcAft>
                <a:spcPts val="600"/>
              </a:spcAft>
              <a:defRPr/>
            </a:pPr>
            <a:r>
              <a:rPr lang="en-US" b="1" dirty="0">
                <a:solidFill>
                  <a:srgbClr val="0070C0"/>
                </a:solidFill>
                <a:latin typeface="Times New Roman" panose="02020603050405020304" pitchFamily="18" charset="0"/>
                <a:ea typeface="Calibri" panose="020F0502020204030204" pitchFamily="34" charset="0"/>
              </a:rPr>
              <a:t>  QUY HOẠCH:</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Số</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oạ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ư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ỉ</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iê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ỷ</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oạch</a:t>
            </a:r>
            <a:r>
              <a:rPr lang="en-US" sz="2000" b="1" dirty="0">
                <a:solidFill>
                  <a:srgbClr val="0070C0"/>
                </a:solidFill>
                <a:latin typeface="Times New Roman" panose="02020603050405020304" pitchFamily="18" charset="0"/>
                <a:ea typeface="Calibri" panose="020F0502020204030204" pitchFamily="34" charset="0"/>
              </a:rPr>
              <a:t> so </a:t>
            </a:r>
            <a:r>
              <a:rPr lang="en-US" sz="2000" b="1" dirty="0" err="1">
                <a:solidFill>
                  <a:srgbClr val="0070C0"/>
                </a:solidFill>
                <a:latin typeface="Times New Roman" panose="02020603050405020304" pitchFamily="18" charset="0"/>
                <a:ea typeface="Calibri" panose="020F0502020204030204" pitchFamily="34" charset="0"/>
              </a:rPr>
              <a:t>v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ổ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ố</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oạ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ấ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ằ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ỷ</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a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ổ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ố</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a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a:t>
            </a:r>
          </a:p>
          <a:p>
            <a:pPr lvl="0" algn="just">
              <a:spcBef>
                <a:spcPts val="600"/>
              </a:spcBef>
              <a:spcAft>
                <a:spcPts val="600"/>
              </a:spcAft>
              <a:defRPr/>
            </a:pPr>
            <a:r>
              <a:rPr lang="en-US" sz="2000" b="1" dirty="0">
                <a:solidFill>
                  <a:srgbClr val="0070C0"/>
                </a:solidFill>
                <a:latin typeface="Times New Roman" panose="02020603050405020304" pitchFamily="18" charset="0"/>
                <a:ea typeface="Calibri" panose="020F0502020204030204" pitchFamily="34" charset="0"/>
              </a:rPr>
              <a:t> </a:t>
            </a:r>
            <a:r>
              <a:rPr lang="en-US" b="1" dirty="0">
                <a:solidFill>
                  <a:srgbClr val="0070C0"/>
                </a:solidFill>
                <a:latin typeface="Times New Roman" panose="02020603050405020304" pitchFamily="18" charset="0"/>
                <a:ea typeface="Calibri" panose="020F0502020204030204" pitchFamily="34" charset="0"/>
              </a:rPr>
              <a:t>BỔ NHIỆM:</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C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ị</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ò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ắ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ổ</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iệm</a:t>
            </a:r>
            <a:endParaRPr lang="en-US" sz="2000" b="1" dirty="0">
              <a:solidFill>
                <a:srgbClr val="0070C0"/>
              </a:solidFill>
              <a:latin typeface="Times New Roman" panose="02020603050405020304" pitchFamily="18" charset="0"/>
              <a:ea typeface="Calibri" panose="020F0502020204030204" pitchFamily="34" charset="0"/>
            </a:endParaRPr>
          </a:p>
          <a:p>
            <a:pPr lvl="0" algn="just">
              <a:spcBef>
                <a:spcPts val="600"/>
              </a:spcBef>
              <a:spcAft>
                <a:spcPts val="600"/>
              </a:spcAft>
              <a:defRPr/>
            </a:pPr>
            <a:r>
              <a:rPr lang="en-US" b="1" dirty="0">
                <a:solidFill>
                  <a:srgbClr val="0070C0"/>
                </a:solidFill>
                <a:latin typeface="Times New Roman" panose="02020603050405020304" pitchFamily="18" charset="0"/>
                <a:ea typeface="Calibri" panose="020F0502020204030204" pitchFamily="34" charset="0"/>
              </a:rPr>
              <a:t>ĐẦO TẠO:</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Chươ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ì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ỹ</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ă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ã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ư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ượ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à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ạ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ườ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xuyê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â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r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ả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ưở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ấ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ượ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a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t>
            </a:r>
            <a:r>
              <a:rPr lang="en-US" sz="2000" b="1" dirty="0">
                <a:solidFill>
                  <a:srgbClr val="0070C0"/>
                </a:solidFill>
                <a:latin typeface="Times New Roman" panose="02020603050405020304" pitchFamily="18" charset="0"/>
                <a:ea typeface="Calibri" panose="020F0502020204030204" pitchFamily="34" charset="0"/>
              </a:rPr>
              <a:t>.</a:t>
            </a:r>
          </a:p>
        </p:txBody>
      </p:sp>
    </p:spTree>
    <p:extLst>
      <p:ext uri="{BB962C8B-B14F-4D97-AF65-F5344CB8AC3E}">
        <p14:creationId xmlns:p14="http://schemas.microsoft.com/office/powerpoint/2010/main" val="39765551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819DF9E-E4A8-4B97-90AF-A55114736271}"/>
              </a:ext>
            </a:extLst>
          </p:cNvPr>
          <p:cNvSpPr/>
          <p:nvPr/>
        </p:nvSpPr>
        <p:spPr>
          <a:xfrm>
            <a:off x="0" y="134905"/>
            <a:ext cx="12191999"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uFillTx/>
              </a:defRPr>
            </a:pPr>
            <a:r>
              <a:rPr kumimoji="0" lang="en-US" sz="3000" b="1" i="0" u="none" strike="noStrike" kern="1200" cap="none" spc="0" normalizeH="0" baseline="0" noProof="0" dirty="0">
                <a:ln>
                  <a:noFill/>
                </a:ln>
                <a:solidFill>
                  <a:srgbClr val="164397"/>
                </a:solidFill>
                <a:effectLst/>
                <a:uLnTx/>
                <a:uFillTx/>
                <a:latin typeface="Times New Roman" panose="02020603050405020304" pitchFamily="18" charset="0"/>
                <a:cs typeface="Times New Roman" panose="02020603050405020304" pitchFamily="18" charset="0"/>
              </a:rPr>
              <a:t>TẦM</a:t>
            </a:r>
            <a:r>
              <a:rPr kumimoji="0" lang="en-US" sz="3000" b="1" i="0" u="none" strike="noStrike" kern="1200" cap="none" spc="0" normalizeH="0" noProof="0" dirty="0">
                <a:ln>
                  <a:noFill/>
                </a:ln>
                <a:solidFill>
                  <a:srgbClr val="164397"/>
                </a:solidFill>
                <a:effectLst/>
                <a:uLnTx/>
                <a:uFillTx/>
                <a:latin typeface="Times New Roman" panose="02020603050405020304" pitchFamily="18" charset="0"/>
                <a:cs typeface="Times New Roman" panose="02020603050405020304" pitchFamily="18" charset="0"/>
              </a:rPr>
              <a:t> NHÌN CỦA EVN VỀ BÌNH ĐẲNG GIỚI</a:t>
            </a:r>
            <a:endParaRPr kumimoji="0" lang="en-US" sz="3000" b="1" i="0" u="none" strike="noStrike" kern="1200" cap="none" spc="0" normalizeH="0" baseline="0" noProof="0" dirty="0">
              <a:ln>
                <a:noFill/>
              </a:ln>
              <a:solidFill>
                <a:srgbClr val="164397"/>
              </a:solidFill>
              <a:effectLst/>
              <a:uLnTx/>
              <a:uFillTx/>
              <a:latin typeface="Times New Roman" panose="02020603050405020304" pitchFamily="18" charset="0"/>
              <a:cs typeface="Times New Roman" panose="02020603050405020304" pitchFamily="18" charset="0"/>
            </a:endParaRPr>
          </a:p>
        </p:txBody>
      </p:sp>
      <p:grpSp>
        <p:nvGrpSpPr>
          <p:cNvPr id="61" name="Group 60">
            <a:extLst>
              <a:ext uri="{FF2B5EF4-FFF2-40B4-BE49-F238E27FC236}">
                <a16:creationId xmlns:a16="http://schemas.microsoft.com/office/drawing/2014/main" id="{3313503C-707C-4596-B44D-14C74A04B326}"/>
              </a:ext>
            </a:extLst>
          </p:cNvPr>
          <p:cNvGrpSpPr/>
          <p:nvPr/>
        </p:nvGrpSpPr>
        <p:grpSpPr>
          <a:xfrm>
            <a:off x="5422632" y="799415"/>
            <a:ext cx="1369406" cy="36576"/>
            <a:chOff x="1775295" y="2020905"/>
            <a:chExt cx="3631535" cy="45719"/>
          </a:xfrm>
        </p:grpSpPr>
        <p:sp>
          <p:nvSpPr>
            <p:cNvPr id="100" name="Rectangle 99">
              <a:extLst>
                <a:ext uri="{FF2B5EF4-FFF2-40B4-BE49-F238E27FC236}">
                  <a16:creationId xmlns:a16="http://schemas.microsoft.com/office/drawing/2014/main" id="{470BC6EE-78C1-4690-8C4C-A44522629F9D}"/>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1" name="Rectangle 100">
              <a:extLst>
                <a:ext uri="{FF2B5EF4-FFF2-40B4-BE49-F238E27FC236}">
                  <a16:creationId xmlns:a16="http://schemas.microsoft.com/office/drawing/2014/main" id="{F2076078-EBEC-4022-A755-2AC307129CC8}"/>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6" name="Rectangle 105">
              <a:extLst>
                <a:ext uri="{FF2B5EF4-FFF2-40B4-BE49-F238E27FC236}">
                  <a16:creationId xmlns:a16="http://schemas.microsoft.com/office/drawing/2014/main" id="{4BE4AD52-C0FB-4227-AD15-AF627279C91E}"/>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7" name="Rectangle 106">
              <a:extLst>
                <a:ext uri="{FF2B5EF4-FFF2-40B4-BE49-F238E27FC236}">
                  <a16:creationId xmlns:a16="http://schemas.microsoft.com/office/drawing/2014/main" id="{D1375058-ECCD-42C2-9CA7-009B6F81CAFB}"/>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8" name="Rectangle 107">
              <a:extLst>
                <a:ext uri="{FF2B5EF4-FFF2-40B4-BE49-F238E27FC236}">
                  <a16:creationId xmlns:a16="http://schemas.microsoft.com/office/drawing/2014/main" id="{D157403A-9B8C-4ACF-AAB1-5A08BC96C034}"/>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09" name="Rectangle 108">
              <a:extLst>
                <a:ext uri="{FF2B5EF4-FFF2-40B4-BE49-F238E27FC236}">
                  <a16:creationId xmlns:a16="http://schemas.microsoft.com/office/drawing/2014/main" id="{EEA0289A-D722-43A1-84CF-3398F834475E}"/>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pic>
        <p:nvPicPr>
          <p:cNvPr id="56" name="Picture 2" descr="D:\backup07102013\o dia D\O D xin\logo EVN.jpg">
            <a:extLst>
              <a:ext uri="{FF2B5EF4-FFF2-40B4-BE49-F238E27FC236}">
                <a16:creationId xmlns:a16="http://schemas.microsoft.com/office/drawing/2014/main" id="{5ADD7B63-0DA3-47D5-BC22-FF34A65AD97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a:extLst>
              <a:ext uri="{FF2B5EF4-FFF2-40B4-BE49-F238E27FC236}">
                <a16:creationId xmlns:a16="http://schemas.microsoft.com/office/drawing/2014/main" id="{7B948166-1D35-404D-8B93-E8055D79B2AD}"/>
              </a:ext>
            </a:extLst>
          </p:cNvPr>
          <p:cNvSpPr txBox="1"/>
          <p:nvPr/>
        </p:nvSpPr>
        <p:spPr>
          <a:xfrm>
            <a:off x="493360" y="3379971"/>
            <a:ext cx="11006487" cy="3170099"/>
          </a:xfrm>
          <a:prstGeom prst="rect">
            <a:avLst/>
          </a:prstGeom>
          <a:noFill/>
        </p:spPr>
        <p:txBody>
          <a:bodyPr wrap="square" rtlCol="0" anchor="t">
            <a:spAutoFit/>
          </a:bodyPr>
          <a:lstStyle/>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Ngày</a:t>
            </a:r>
            <a:r>
              <a:rPr lang="en-US" sz="2000" b="1" dirty="0">
                <a:solidFill>
                  <a:srgbClr val="0070C0"/>
                </a:solidFill>
                <a:latin typeface="Times New Roman" panose="02020603050405020304" pitchFamily="18" charset="0"/>
                <a:ea typeface="Calibri" panose="020F0502020204030204" pitchFamily="34" charset="0"/>
              </a:rPr>
              <a:t> 21/12/1954: </a:t>
            </a:r>
            <a:r>
              <a:rPr lang="en-US" sz="2000" b="1" dirty="0" err="1">
                <a:solidFill>
                  <a:srgbClr val="0070C0"/>
                </a:solidFill>
                <a:latin typeface="Times New Roman" panose="02020603050405020304" pitchFamily="18" charset="0"/>
                <a:ea typeface="Calibri" panose="020F0502020204030204" pitchFamily="34" charset="0"/>
              </a:rPr>
              <a:t>B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ồ</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ề</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ă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á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è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ờ</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ồ</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ã</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ặ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ê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á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à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â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ờ</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í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ủ</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các</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Cô</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ú</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Các</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Cô</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ú</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ủ</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ì</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ả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ữ</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ì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á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i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ơ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ữa</a:t>
            </a:r>
            <a:r>
              <a:rPr lang="en-US" sz="2000" b="1" dirty="0">
                <a:solidFill>
                  <a:srgbClr val="0070C0"/>
                </a:solidFill>
                <a:latin typeface="Times New Roman" panose="02020603050405020304" pitchFamily="18" charset="0"/>
                <a:ea typeface="Calibri" panose="020F0502020204030204" pitchFamily="34" charset="0"/>
              </a:rPr>
              <a:t>…!”</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Trải</a:t>
            </a:r>
            <a:r>
              <a:rPr lang="en-US" sz="2000" b="1" dirty="0">
                <a:solidFill>
                  <a:srgbClr val="0070C0"/>
                </a:solidFill>
                <a:latin typeface="Times New Roman" panose="02020603050405020304" pitchFamily="18" charset="0"/>
                <a:ea typeface="Calibri" panose="020F0502020204030204" pitchFamily="34" charset="0"/>
              </a:rPr>
              <a:t> qua 69 </a:t>
            </a:r>
            <a:r>
              <a:rPr lang="en-US" sz="2000" b="1" dirty="0" err="1">
                <a:solidFill>
                  <a:srgbClr val="0070C0"/>
                </a:solidFill>
                <a:latin typeface="Times New Roman" panose="02020603050405020304" pitchFamily="18" charset="0"/>
                <a:ea typeface="Calibri" panose="020F0502020204030204" pitchFamily="34" charset="0"/>
              </a:rPr>
              <a:t>nă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xâ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ự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iển</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ậ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oà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i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ế</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ầ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ĩ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ă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ượ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t</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âu</a:t>
            </a:r>
            <a:r>
              <a:rPr lang="en-US" sz="2000" b="1" dirty="0">
                <a:solidFill>
                  <a:srgbClr val="0070C0"/>
                </a:solidFill>
                <a:latin typeface="Times New Roman" panose="02020603050405020304" pitchFamily="18" charset="0"/>
                <a:ea typeface="Calibri" panose="020F0502020204030204" pitchFamily="34" charset="0"/>
              </a:rPr>
              <a:t> Á, </a:t>
            </a:r>
            <a:r>
              <a:rPr lang="en-US" sz="2000" b="1" dirty="0" err="1">
                <a:solidFill>
                  <a:srgbClr val="0070C0"/>
                </a:solidFill>
                <a:latin typeface="Times New Roman" panose="02020603050405020304" pitchFamily="18" charset="0"/>
                <a:ea typeface="Calibri" panose="020F0502020204030204" pitchFamily="34" charset="0"/>
              </a:rPr>
              <a:t>đó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a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ò</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ủ</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ả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ảo</a:t>
            </a:r>
            <a:r>
              <a:rPr lang="en-US" sz="2000" b="1" dirty="0">
                <a:solidFill>
                  <a:srgbClr val="0070C0"/>
                </a:solidFill>
                <a:latin typeface="Times New Roman" panose="02020603050405020304" pitchFamily="18" charset="0"/>
                <a:ea typeface="Calibri" panose="020F0502020204030204" pitchFamily="34" charset="0"/>
              </a:rPr>
              <a:t> an </a:t>
            </a:r>
            <a:r>
              <a:rPr lang="en-US" sz="2000" b="1" dirty="0" err="1">
                <a:solidFill>
                  <a:srgbClr val="0070C0"/>
                </a:solidFill>
                <a:latin typeface="Times New Roman" panose="02020603050405020304" pitchFamily="18" charset="0"/>
                <a:ea typeface="Calibri" panose="020F0502020204030204" pitchFamily="34" charset="0"/>
              </a:rPr>
              <a:t>ni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ă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ượ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ố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a</a:t>
            </a:r>
            <a:r>
              <a:rPr lang="en-US" sz="2000" b="1" dirty="0">
                <a:solidFill>
                  <a:srgbClr val="0070C0"/>
                </a:solidFill>
                <a:latin typeface="Times New Roman" panose="02020603050405020304" pitchFamily="18" charset="0"/>
                <a:ea typeface="Calibri" panose="020F0502020204030204" pitchFamily="34" charset="0"/>
              </a:rPr>
              <a:t>.</a:t>
            </a:r>
          </a:p>
          <a:p>
            <a:pPr marL="342900" lvl="0" indent="-342900" algn="just">
              <a:spcBef>
                <a:spcPts val="600"/>
              </a:spcBef>
              <a:spcAft>
                <a:spcPts val="600"/>
              </a:spcAft>
              <a:buFontTx/>
              <a:buChar char="-"/>
              <a:defRPr/>
            </a:pPr>
            <a:r>
              <a:rPr lang="en-US" sz="2000" b="1" dirty="0" err="1">
                <a:solidFill>
                  <a:srgbClr val="0070C0"/>
                </a:solidFill>
                <a:latin typeface="Times New Roman" panose="02020603050405020304" pitchFamily="18" charset="0"/>
                <a:ea typeface="Calibri" panose="020F0502020204030204" pitchFamily="34" charset="0"/>
              </a:rPr>
              <a:t>Mọ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đề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ướ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ới</a:t>
            </a:r>
            <a:r>
              <a:rPr lang="en-US" sz="2000" b="1" dirty="0">
                <a:solidFill>
                  <a:srgbClr val="0070C0"/>
                </a:solidFill>
                <a:latin typeface="Times New Roman" panose="02020603050405020304" pitchFamily="18" charset="0"/>
                <a:ea typeface="Calibri" panose="020F0502020204030204" pitchFamily="34" charset="0"/>
              </a:rPr>
              <a:t> Con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ì</a:t>
            </a:r>
            <a:r>
              <a:rPr lang="en-US" sz="2000" b="1" dirty="0">
                <a:solidFill>
                  <a:srgbClr val="0070C0"/>
                </a:solidFill>
                <a:latin typeface="Times New Roman" panose="02020603050405020304" pitchFamily="18" charset="0"/>
                <a:ea typeface="Calibri" panose="020F0502020204030204" pitchFamily="34" charset="0"/>
              </a:rPr>
              <a:t> Con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o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EVN, Con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uô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u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â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Lao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ượ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o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à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ả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á</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ấ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úp</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đ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a:t>
            </a:r>
          </a:p>
        </p:txBody>
      </p:sp>
      <p:grpSp>
        <p:nvGrpSpPr>
          <p:cNvPr id="89" name="AI2" descr="{&quot;Key&quot;:&quot;POWER_USER_SHAPE_ICON&quot;,&quot;Value&quot;:&quot;POWER_USER_SHAPE_ICON_STYLE_1&quot;}">
            <a:extLst>
              <a:ext uri="{FF2B5EF4-FFF2-40B4-BE49-F238E27FC236}">
                <a16:creationId xmlns:a16="http://schemas.microsoft.com/office/drawing/2014/main" id="{B0A10A8A-9936-4480-9868-3D9BD6DAEF3B}"/>
              </a:ext>
            </a:extLst>
          </p:cNvPr>
          <p:cNvGrpSpPr>
            <a:grpSpLocks noChangeAspect="1"/>
          </p:cNvGrpSpPr>
          <p:nvPr>
            <p:custDataLst>
              <p:tags r:id="rId1"/>
            </p:custDataLst>
          </p:nvPr>
        </p:nvGrpSpPr>
        <p:grpSpPr>
          <a:xfrm>
            <a:off x="5755584" y="1343973"/>
            <a:ext cx="711200" cy="596900"/>
            <a:chOff x="3457576" y="4243388"/>
            <a:chExt cx="711200" cy="596900"/>
          </a:xfrm>
          <a:solidFill>
            <a:schemeClr val="bg1"/>
          </a:solidFill>
        </p:grpSpPr>
        <p:sp>
          <p:nvSpPr>
            <p:cNvPr id="90" name="Freeform 322">
              <a:extLst>
                <a:ext uri="{FF2B5EF4-FFF2-40B4-BE49-F238E27FC236}">
                  <a16:creationId xmlns:a16="http://schemas.microsoft.com/office/drawing/2014/main" id="{BB61B31E-8A78-4F63-A25A-AA0BD00601F5}"/>
                </a:ext>
              </a:extLst>
            </p:cNvPr>
            <p:cNvSpPr>
              <a:spLocks/>
            </p:cNvSpPr>
            <p:nvPr/>
          </p:nvSpPr>
          <p:spPr bwMode="auto">
            <a:xfrm>
              <a:off x="3651251" y="4243388"/>
              <a:ext cx="517525" cy="596900"/>
            </a:xfrm>
            <a:custGeom>
              <a:avLst/>
              <a:gdLst>
                <a:gd name="T0" fmla="*/ 57 w 378"/>
                <a:gd name="T1" fmla="*/ 436 h 436"/>
                <a:gd name="T2" fmla="*/ 41 w 378"/>
                <a:gd name="T3" fmla="*/ 432 h 436"/>
                <a:gd name="T4" fmla="*/ 52 w 378"/>
                <a:gd name="T5" fmla="*/ 391 h 436"/>
                <a:gd name="T6" fmla="*/ 65 w 378"/>
                <a:gd name="T7" fmla="*/ 314 h 436"/>
                <a:gd name="T8" fmla="*/ 61 w 378"/>
                <a:gd name="T9" fmla="*/ 310 h 436"/>
                <a:gd name="T10" fmla="*/ 15 w 378"/>
                <a:gd name="T11" fmla="*/ 239 h 436"/>
                <a:gd name="T12" fmla="*/ 6 w 378"/>
                <a:gd name="T13" fmla="*/ 143 h 436"/>
                <a:gd name="T14" fmla="*/ 170 w 378"/>
                <a:gd name="T15" fmla="*/ 0 h 436"/>
                <a:gd name="T16" fmla="*/ 307 w 378"/>
                <a:gd name="T17" fmla="*/ 72 h 436"/>
                <a:gd name="T18" fmla="*/ 330 w 378"/>
                <a:gd name="T19" fmla="*/ 162 h 436"/>
                <a:gd name="T20" fmla="*/ 368 w 378"/>
                <a:gd name="T21" fmla="*/ 233 h 436"/>
                <a:gd name="T22" fmla="*/ 373 w 378"/>
                <a:gd name="T23" fmla="*/ 262 h 436"/>
                <a:gd name="T24" fmla="*/ 356 w 378"/>
                <a:gd name="T25" fmla="*/ 276 h 436"/>
                <a:gd name="T26" fmla="*/ 336 w 378"/>
                <a:gd name="T27" fmla="*/ 282 h 436"/>
                <a:gd name="T28" fmla="*/ 316 w 378"/>
                <a:gd name="T29" fmla="*/ 308 h 436"/>
                <a:gd name="T30" fmla="*/ 309 w 378"/>
                <a:gd name="T31" fmla="*/ 351 h 436"/>
                <a:gd name="T32" fmla="*/ 309 w 378"/>
                <a:gd name="T33" fmla="*/ 357 h 436"/>
                <a:gd name="T34" fmla="*/ 282 w 378"/>
                <a:gd name="T35" fmla="*/ 384 h 436"/>
                <a:gd name="T36" fmla="*/ 226 w 378"/>
                <a:gd name="T37" fmla="*/ 384 h 436"/>
                <a:gd name="T38" fmla="*/ 213 w 378"/>
                <a:gd name="T39" fmla="*/ 436 h 436"/>
                <a:gd name="T40" fmla="*/ 197 w 378"/>
                <a:gd name="T41" fmla="*/ 432 h 436"/>
                <a:gd name="T42" fmla="*/ 213 w 378"/>
                <a:gd name="T43" fmla="*/ 367 h 436"/>
                <a:gd name="T44" fmla="*/ 282 w 378"/>
                <a:gd name="T45" fmla="*/ 367 h 436"/>
                <a:gd name="T46" fmla="*/ 292 w 378"/>
                <a:gd name="T47" fmla="*/ 357 h 436"/>
                <a:gd name="T48" fmla="*/ 292 w 378"/>
                <a:gd name="T49" fmla="*/ 349 h 436"/>
                <a:gd name="T50" fmla="*/ 300 w 378"/>
                <a:gd name="T51" fmla="*/ 305 h 436"/>
                <a:gd name="T52" fmla="*/ 332 w 378"/>
                <a:gd name="T53" fmla="*/ 265 h 436"/>
                <a:gd name="T54" fmla="*/ 352 w 378"/>
                <a:gd name="T55" fmla="*/ 260 h 436"/>
                <a:gd name="T56" fmla="*/ 358 w 378"/>
                <a:gd name="T57" fmla="*/ 255 h 436"/>
                <a:gd name="T58" fmla="*/ 356 w 378"/>
                <a:gd name="T59" fmla="*/ 245 h 436"/>
                <a:gd name="T60" fmla="*/ 314 w 378"/>
                <a:gd name="T61" fmla="*/ 160 h 436"/>
                <a:gd name="T62" fmla="*/ 293 w 378"/>
                <a:gd name="T63" fmla="*/ 81 h 436"/>
                <a:gd name="T64" fmla="*/ 170 w 378"/>
                <a:gd name="T65" fmla="*/ 16 h 436"/>
                <a:gd name="T66" fmla="*/ 23 w 378"/>
                <a:gd name="T67" fmla="*/ 145 h 436"/>
                <a:gd name="T68" fmla="*/ 30 w 378"/>
                <a:gd name="T69" fmla="*/ 232 h 436"/>
                <a:gd name="T70" fmla="*/ 73 w 378"/>
                <a:gd name="T71" fmla="*/ 299 h 436"/>
                <a:gd name="T72" fmla="*/ 83 w 378"/>
                <a:gd name="T73" fmla="*/ 309 h 436"/>
                <a:gd name="T74" fmla="*/ 68 w 378"/>
                <a:gd name="T75" fmla="*/ 395 h 436"/>
                <a:gd name="T76" fmla="*/ 57 w 378"/>
                <a:gd name="T77"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8" h="436">
                  <a:moveTo>
                    <a:pt x="57" y="436"/>
                  </a:moveTo>
                  <a:lnTo>
                    <a:pt x="41" y="432"/>
                  </a:lnTo>
                  <a:lnTo>
                    <a:pt x="52" y="391"/>
                  </a:lnTo>
                  <a:lnTo>
                    <a:pt x="65" y="314"/>
                  </a:lnTo>
                  <a:lnTo>
                    <a:pt x="61" y="310"/>
                  </a:lnTo>
                  <a:cubicBezTo>
                    <a:pt x="45" y="293"/>
                    <a:pt x="30" y="277"/>
                    <a:pt x="15" y="239"/>
                  </a:cubicBezTo>
                  <a:cubicBezTo>
                    <a:pt x="0" y="203"/>
                    <a:pt x="6" y="145"/>
                    <a:pt x="6" y="143"/>
                  </a:cubicBezTo>
                  <a:cubicBezTo>
                    <a:pt x="17" y="61"/>
                    <a:pt x="88" y="0"/>
                    <a:pt x="170" y="0"/>
                  </a:cubicBezTo>
                  <a:cubicBezTo>
                    <a:pt x="225" y="0"/>
                    <a:pt x="276" y="27"/>
                    <a:pt x="307" y="72"/>
                  </a:cubicBezTo>
                  <a:cubicBezTo>
                    <a:pt x="308" y="74"/>
                    <a:pt x="335" y="117"/>
                    <a:pt x="330" y="162"/>
                  </a:cubicBezTo>
                  <a:cubicBezTo>
                    <a:pt x="327" y="190"/>
                    <a:pt x="356" y="221"/>
                    <a:pt x="368" y="233"/>
                  </a:cubicBezTo>
                  <a:cubicBezTo>
                    <a:pt x="376" y="241"/>
                    <a:pt x="378" y="253"/>
                    <a:pt x="373" y="262"/>
                  </a:cubicBezTo>
                  <a:cubicBezTo>
                    <a:pt x="370" y="269"/>
                    <a:pt x="364" y="274"/>
                    <a:pt x="356" y="276"/>
                  </a:cubicBezTo>
                  <a:lnTo>
                    <a:pt x="336" y="282"/>
                  </a:lnTo>
                  <a:cubicBezTo>
                    <a:pt x="335" y="282"/>
                    <a:pt x="320" y="285"/>
                    <a:pt x="316" y="308"/>
                  </a:cubicBezTo>
                  <a:lnTo>
                    <a:pt x="309" y="351"/>
                  </a:lnTo>
                  <a:lnTo>
                    <a:pt x="309" y="357"/>
                  </a:lnTo>
                  <a:cubicBezTo>
                    <a:pt x="309" y="372"/>
                    <a:pt x="297" y="384"/>
                    <a:pt x="282" y="384"/>
                  </a:cubicBezTo>
                  <a:lnTo>
                    <a:pt x="226" y="384"/>
                  </a:lnTo>
                  <a:lnTo>
                    <a:pt x="213" y="436"/>
                  </a:lnTo>
                  <a:lnTo>
                    <a:pt x="197" y="432"/>
                  </a:lnTo>
                  <a:lnTo>
                    <a:pt x="213" y="367"/>
                  </a:lnTo>
                  <a:lnTo>
                    <a:pt x="282" y="367"/>
                  </a:lnTo>
                  <a:cubicBezTo>
                    <a:pt x="288" y="367"/>
                    <a:pt x="292" y="362"/>
                    <a:pt x="292" y="357"/>
                  </a:cubicBezTo>
                  <a:lnTo>
                    <a:pt x="292" y="349"/>
                  </a:lnTo>
                  <a:lnTo>
                    <a:pt x="300" y="305"/>
                  </a:lnTo>
                  <a:cubicBezTo>
                    <a:pt x="305" y="271"/>
                    <a:pt x="331" y="266"/>
                    <a:pt x="332" y="265"/>
                  </a:cubicBezTo>
                  <a:lnTo>
                    <a:pt x="352" y="260"/>
                  </a:lnTo>
                  <a:cubicBezTo>
                    <a:pt x="355" y="259"/>
                    <a:pt x="357" y="258"/>
                    <a:pt x="358" y="255"/>
                  </a:cubicBezTo>
                  <a:cubicBezTo>
                    <a:pt x="360" y="252"/>
                    <a:pt x="359" y="248"/>
                    <a:pt x="356" y="245"/>
                  </a:cubicBezTo>
                  <a:cubicBezTo>
                    <a:pt x="339" y="228"/>
                    <a:pt x="310" y="194"/>
                    <a:pt x="314" y="160"/>
                  </a:cubicBezTo>
                  <a:cubicBezTo>
                    <a:pt x="317" y="121"/>
                    <a:pt x="293" y="82"/>
                    <a:pt x="293" y="81"/>
                  </a:cubicBezTo>
                  <a:cubicBezTo>
                    <a:pt x="265" y="41"/>
                    <a:pt x="219" y="16"/>
                    <a:pt x="170" y="16"/>
                  </a:cubicBezTo>
                  <a:cubicBezTo>
                    <a:pt x="96" y="16"/>
                    <a:pt x="33" y="72"/>
                    <a:pt x="23" y="145"/>
                  </a:cubicBezTo>
                  <a:cubicBezTo>
                    <a:pt x="23" y="145"/>
                    <a:pt x="17" y="201"/>
                    <a:pt x="30" y="232"/>
                  </a:cubicBezTo>
                  <a:cubicBezTo>
                    <a:pt x="45" y="268"/>
                    <a:pt x="58" y="282"/>
                    <a:pt x="73" y="299"/>
                  </a:cubicBezTo>
                  <a:lnTo>
                    <a:pt x="83" y="309"/>
                  </a:lnTo>
                  <a:lnTo>
                    <a:pt x="68" y="395"/>
                  </a:lnTo>
                  <a:lnTo>
                    <a:pt x="57" y="43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323">
              <a:extLst>
                <a:ext uri="{FF2B5EF4-FFF2-40B4-BE49-F238E27FC236}">
                  <a16:creationId xmlns:a16="http://schemas.microsoft.com/office/drawing/2014/main" id="{9EEBC835-5790-491A-8A54-6BD6F985253D}"/>
                </a:ext>
              </a:extLst>
            </p:cNvPr>
            <p:cNvSpPr>
              <a:spLocks noEditPoints="1"/>
            </p:cNvSpPr>
            <p:nvPr/>
          </p:nvSpPr>
          <p:spPr bwMode="auto">
            <a:xfrm>
              <a:off x="3754438" y="4348163"/>
              <a:ext cx="71438" cy="69850"/>
            </a:xfrm>
            <a:custGeom>
              <a:avLst/>
              <a:gdLst>
                <a:gd name="T0" fmla="*/ 26 w 52"/>
                <a:gd name="T1" fmla="*/ 16 h 51"/>
                <a:gd name="T2" fmla="*/ 17 w 52"/>
                <a:gd name="T3" fmla="*/ 25 h 51"/>
                <a:gd name="T4" fmla="*/ 26 w 52"/>
                <a:gd name="T5" fmla="*/ 35 h 51"/>
                <a:gd name="T6" fmla="*/ 35 w 52"/>
                <a:gd name="T7" fmla="*/ 25 h 51"/>
                <a:gd name="T8" fmla="*/ 26 w 52"/>
                <a:gd name="T9" fmla="*/ 16 h 51"/>
                <a:gd name="T10" fmla="*/ 26 w 52"/>
                <a:gd name="T11" fmla="*/ 51 h 51"/>
                <a:gd name="T12" fmla="*/ 0 w 52"/>
                <a:gd name="T13" fmla="*/ 25 h 51"/>
                <a:gd name="T14" fmla="*/ 26 w 52"/>
                <a:gd name="T15" fmla="*/ 0 h 51"/>
                <a:gd name="T16" fmla="*/ 52 w 52"/>
                <a:gd name="T17" fmla="*/ 25 h 51"/>
                <a:gd name="T18" fmla="*/ 26 w 52"/>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2" y="51"/>
                    <a:pt x="0" y="40"/>
                    <a:pt x="0" y="25"/>
                  </a:cubicBezTo>
                  <a:cubicBezTo>
                    <a:pt x="0" y="11"/>
                    <a:pt x="12" y="0"/>
                    <a:pt x="26" y="0"/>
                  </a:cubicBezTo>
                  <a:cubicBezTo>
                    <a:pt x="40" y="0"/>
                    <a:pt x="52" y="11"/>
                    <a:pt x="52" y="25"/>
                  </a:cubicBezTo>
                  <a:cubicBezTo>
                    <a:pt x="52"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324">
              <a:extLst>
                <a:ext uri="{FF2B5EF4-FFF2-40B4-BE49-F238E27FC236}">
                  <a16:creationId xmlns:a16="http://schemas.microsoft.com/office/drawing/2014/main" id="{5F3C4704-3C99-4530-BDEA-F8FF93CC1911}"/>
                </a:ext>
              </a:extLst>
            </p:cNvPr>
            <p:cNvSpPr>
              <a:spLocks noEditPoints="1"/>
            </p:cNvSpPr>
            <p:nvPr/>
          </p:nvSpPr>
          <p:spPr bwMode="auto">
            <a:xfrm>
              <a:off x="3457576" y="4400550"/>
              <a:ext cx="71438" cy="71438"/>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325">
              <a:extLst>
                <a:ext uri="{FF2B5EF4-FFF2-40B4-BE49-F238E27FC236}">
                  <a16:creationId xmlns:a16="http://schemas.microsoft.com/office/drawing/2014/main" id="{9DC9F4C6-98E5-4225-9CEA-CA4E228EF087}"/>
                </a:ext>
              </a:extLst>
            </p:cNvPr>
            <p:cNvSpPr>
              <a:spLocks noEditPoints="1"/>
            </p:cNvSpPr>
            <p:nvPr/>
          </p:nvSpPr>
          <p:spPr bwMode="auto">
            <a:xfrm>
              <a:off x="3536951" y="4281488"/>
              <a:ext cx="69850" cy="71438"/>
            </a:xfrm>
            <a:custGeom>
              <a:avLst/>
              <a:gdLst>
                <a:gd name="T0" fmla="*/ 25 w 51"/>
                <a:gd name="T1" fmla="*/ 17 h 52"/>
                <a:gd name="T2" fmla="*/ 16 w 51"/>
                <a:gd name="T3" fmla="*/ 26 h 52"/>
                <a:gd name="T4" fmla="*/ 25 w 51"/>
                <a:gd name="T5" fmla="*/ 35 h 52"/>
                <a:gd name="T6" fmla="*/ 35 w 51"/>
                <a:gd name="T7" fmla="*/ 26 h 52"/>
                <a:gd name="T8" fmla="*/ 25 w 51"/>
                <a:gd name="T9" fmla="*/ 17 h 52"/>
                <a:gd name="T10" fmla="*/ 25 w 51"/>
                <a:gd name="T11" fmla="*/ 52 h 52"/>
                <a:gd name="T12" fmla="*/ 0 w 51"/>
                <a:gd name="T13" fmla="*/ 26 h 52"/>
                <a:gd name="T14" fmla="*/ 25 w 51"/>
                <a:gd name="T15" fmla="*/ 0 h 52"/>
                <a:gd name="T16" fmla="*/ 51 w 51"/>
                <a:gd name="T17" fmla="*/ 26 h 52"/>
                <a:gd name="T18" fmla="*/ 25 w 51"/>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2">
                  <a:moveTo>
                    <a:pt x="25" y="17"/>
                  </a:moveTo>
                  <a:cubicBezTo>
                    <a:pt x="20" y="17"/>
                    <a:pt x="16" y="21"/>
                    <a:pt x="16" y="26"/>
                  </a:cubicBezTo>
                  <a:cubicBezTo>
                    <a:pt x="16" y="31"/>
                    <a:pt x="20" y="35"/>
                    <a:pt x="25" y="35"/>
                  </a:cubicBezTo>
                  <a:cubicBezTo>
                    <a:pt x="30" y="35"/>
                    <a:pt x="35" y="31"/>
                    <a:pt x="35" y="26"/>
                  </a:cubicBezTo>
                  <a:cubicBezTo>
                    <a:pt x="35" y="21"/>
                    <a:pt x="30" y="17"/>
                    <a:pt x="25" y="17"/>
                  </a:cubicBezTo>
                  <a:close/>
                  <a:moveTo>
                    <a:pt x="25" y="52"/>
                  </a:moveTo>
                  <a:cubicBezTo>
                    <a:pt x="11" y="52"/>
                    <a:pt x="0" y="40"/>
                    <a:pt x="0" y="26"/>
                  </a:cubicBezTo>
                  <a:cubicBezTo>
                    <a:pt x="0" y="12"/>
                    <a:pt x="11" y="0"/>
                    <a:pt x="25" y="0"/>
                  </a:cubicBezTo>
                  <a:cubicBezTo>
                    <a:pt x="40" y="0"/>
                    <a:pt x="51" y="12"/>
                    <a:pt x="51" y="26"/>
                  </a:cubicBezTo>
                  <a:cubicBezTo>
                    <a:pt x="51" y="40"/>
                    <a:pt x="40" y="52"/>
                    <a:pt x="2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326">
              <a:extLst>
                <a:ext uri="{FF2B5EF4-FFF2-40B4-BE49-F238E27FC236}">
                  <a16:creationId xmlns:a16="http://schemas.microsoft.com/office/drawing/2014/main" id="{995D60BD-DE59-4567-8E7F-6A1C00E43ADB}"/>
                </a:ext>
              </a:extLst>
            </p:cNvPr>
            <p:cNvSpPr>
              <a:spLocks noEditPoints="1"/>
            </p:cNvSpPr>
            <p:nvPr/>
          </p:nvSpPr>
          <p:spPr bwMode="auto">
            <a:xfrm>
              <a:off x="3554413" y="4710113"/>
              <a:ext cx="69850" cy="69850"/>
            </a:xfrm>
            <a:custGeom>
              <a:avLst/>
              <a:gdLst>
                <a:gd name="T0" fmla="*/ 26 w 51"/>
                <a:gd name="T1" fmla="*/ 16 h 51"/>
                <a:gd name="T2" fmla="*/ 17 w 51"/>
                <a:gd name="T3" fmla="*/ 25 h 51"/>
                <a:gd name="T4" fmla="*/ 26 w 51"/>
                <a:gd name="T5" fmla="*/ 35 h 51"/>
                <a:gd name="T6" fmla="*/ 35 w 51"/>
                <a:gd name="T7" fmla="*/ 25 h 51"/>
                <a:gd name="T8" fmla="*/ 26 w 51"/>
                <a:gd name="T9" fmla="*/ 16 h 51"/>
                <a:gd name="T10" fmla="*/ 26 w 51"/>
                <a:gd name="T11" fmla="*/ 51 h 51"/>
                <a:gd name="T12" fmla="*/ 0 w 51"/>
                <a:gd name="T13" fmla="*/ 25 h 51"/>
                <a:gd name="T14" fmla="*/ 26 w 51"/>
                <a:gd name="T15" fmla="*/ 0 h 51"/>
                <a:gd name="T16" fmla="*/ 51 w 51"/>
                <a:gd name="T17" fmla="*/ 25 h 51"/>
                <a:gd name="T18" fmla="*/ 26 w 5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1" y="51"/>
                    <a:pt x="0" y="40"/>
                    <a:pt x="0" y="25"/>
                  </a:cubicBezTo>
                  <a:cubicBezTo>
                    <a:pt x="0" y="11"/>
                    <a:pt x="11" y="0"/>
                    <a:pt x="26" y="0"/>
                  </a:cubicBezTo>
                  <a:cubicBezTo>
                    <a:pt x="40" y="0"/>
                    <a:pt x="51" y="11"/>
                    <a:pt x="51" y="25"/>
                  </a:cubicBezTo>
                  <a:cubicBezTo>
                    <a:pt x="51"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327">
              <a:extLst>
                <a:ext uri="{FF2B5EF4-FFF2-40B4-BE49-F238E27FC236}">
                  <a16:creationId xmlns:a16="http://schemas.microsoft.com/office/drawing/2014/main" id="{6FD7EBA5-F31A-43A9-8092-6CA426F61FCB}"/>
                </a:ext>
              </a:extLst>
            </p:cNvPr>
            <p:cNvSpPr>
              <a:spLocks noEditPoints="1"/>
            </p:cNvSpPr>
            <p:nvPr/>
          </p:nvSpPr>
          <p:spPr bwMode="auto">
            <a:xfrm>
              <a:off x="3463926" y="4591050"/>
              <a:ext cx="71438" cy="71438"/>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328">
              <a:extLst>
                <a:ext uri="{FF2B5EF4-FFF2-40B4-BE49-F238E27FC236}">
                  <a16:creationId xmlns:a16="http://schemas.microsoft.com/office/drawing/2014/main" id="{3280575C-4AE2-4479-BCE5-B77A1F7B1D00}"/>
                </a:ext>
              </a:extLst>
            </p:cNvPr>
            <p:cNvSpPr>
              <a:spLocks noEditPoints="1"/>
            </p:cNvSpPr>
            <p:nvPr/>
          </p:nvSpPr>
          <p:spPr bwMode="auto">
            <a:xfrm>
              <a:off x="3822701" y="4454525"/>
              <a:ext cx="68263" cy="69850"/>
            </a:xfrm>
            <a:custGeom>
              <a:avLst/>
              <a:gdLst>
                <a:gd name="T0" fmla="*/ 26 w 51"/>
                <a:gd name="T1" fmla="*/ 16 h 51"/>
                <a:gd name="T2" fmla="*/ 17 w 51"/>
                <a:gd name="T3" fmla="*/ 25 h 51"/>
                <a:gd name="T4" fmla="*/ 26 w 51"/>
                <a:gd name="T5" fmla="*/ 35 h 51"/>
                <a:gd name="T6" fmla="*/ 35 w 51"/>
                <a:gd name="T7" fmla="*/ 25 h 51"/>
                <a:gd name="T8" fmla="*/ 26 w 51"/>
                <a:gd name="T9" fmla="*/ 16 h 51"/>
                <a:gd name="T10" fmla="*/ 26 w 51"/>
                <a:gd name="T11" fmla="*/ 51 h 51"/>
                <a:gd name="T12" fmla="*/ 0 w 51"/>
                <a:gd name="T13" fmla="*/ 25 h 51"/>
                <a:gd name="T14" fmla="*/ 26 w 51"/>
                <a:gd name="T15" fmla="*/ 0 h 51"/>
                <a:gd name="T16" fmla="*/ 51 w 51"/>
                <a:gd name="T17" fmla="*/ 25 h 51"/>
                <a:gd name="T18" fmla="*/ 26 w 51"/>
                <a:gd name="T1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6" y="16"/>
                  </a:moveTo>
                  <a:cubicBezTo>
                    <a:pt x="21" y="16"/>
                    <a:pt x="17" y="20"/>
                    <a:pt x="17" y="25"/>
                  </a:cubicBezTo>
                  <a:cubicBezTo>
                    <a:pt x="17" y="30"/>
                    <a:pt x="21" y="35"/>
                    <a:pt x="26" y="35"/>
                  </a:cubicBezTo>
                  <a:cubicBezTo>
                    <a:pt x="31" y="35"/>
                    <a:pt x="35" y="30"/>
                    <a:pt x="35" y="25"/>
                  </a:cubicBezTo>
                  <a:cubicBezTo>
                    <a:pt x="35" y="20"/>
                    <a:pt x="31" y="16"/>
                    <a:pt x="26" y="16"/>
                  </a:cubicBezTo>
                  <a:close/>
                  <a:moveTo>
                    <a:pt x="26" y="51"/>
                  </a:moveTo>
                  <a:cubicBezTo>
                    <a:pt x="11" y="51"/>
                    <a:pt x="0" y="40"/>
                    <a:pt x="0" y="25"/>
                  </a:cubicBezTo>
                  <a:cubicBezTo>
                    <a:pt x="0" y="11"/>
                    <a:pt x="11" y="0"/>
                    <a:pt x="26" y="0"/>
                  </a:cubicBezTo>
                  <a:cubicBezTo>
                    <a:pt x="40" y="0"/>
                    <a:pt x="51" y="11"/>
                    <a:pt x="51" y="25"/>
                  </a:cubicBezTo>
                  <a:cubicBezTo>
                    <a:pt x="51" y="40"/>
                    <a:pt x="40" y="51"/>
                    <a:pt x="2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329">
              <a:extLst>
                <a:ext uri="{FF2B5EF4-FFF2-40B4-BE49-F238E27FC236}">
                  <a16:creationId xmlns:a16="http://schemas.microsoft.com/office/drawing/2014/main" id="{C7829C72-0C40-42EF-A12C-74B40B06A0E9}"/>
                </a:ext>
              </a:extLst>
            </p:cNvPr>
            <p:cNvSpPr>
              <a:spLocks noEditPoints="1"/>
            </p:cNvSpPr>
            <p:nvPr/>
          </p:nvSpPr>
          <p:spPr bwMode="auto">
            <a:xfrm>
              <a:off x="3832226" y="4635500"/>
              <a:ext cx="71438" cy="69850"/>
            </a:xfrm>
            <a:custGeom>
              <a:avLst/>
              <a:gdLst>
                <a:gd name="T0" fmla="*/ 26 w 52"/>
                <a:gd name="T1" fmla="*/ 17 h 52"/>
                <a:gd name="T2" fmla="*/ 17 w 52"/>
                <a:gd name="T3" fmla="*/ 26 h 52"/>
                <a:gd name="T4" fmla="*/ 26 w 52"/>
                <a:gd name="T5" fmla="*/ 35 h 52"/>
                <a:gd name="T6" fmla="*/ 35 w 52"/>
                <a:gd name="T7" fmla="*/ 26 h 52"/>
                <a:gd name="T8" fmla="*/ 26 w 52"/>
                <a:gd name="T9" fmla="*/ 17 h 52"/>
                <a:gd name="T10" fmla="*/ 26 w 52"/>
                <a:gd name="T11" fmla="*/ 52 h 52"/>
                <a:gd name="T12" fmla="*/ 0 w 52"/>
                <a:gd name="T13" fmla="*/ 26 h 52"/>
                <a:gd name="T14" fmla="*/ 26 w 52"/>
                <a:gd name="T15" fmla="*/ 0 h 52"/>
                <a:gd name="T16" fmla="*/ 52 w 52"/>
                <a:gd name="T17" fmla="*/ 26 h 52"/>
                <a:gd name="T18" fmla="*/ 26 w 52"/>
                <a:gd name="T1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17"/>
                  </a:moveTo>
                  <a:cubicBezTo>
                    <a:pt x="21" y="17"/>
                    <a:pt x="17" y="21"/>
                    <a:pt x="17" y="26"/>
                  </a:cubicBezTo>
                  <a:cubicBezTo>
                    <a:pt x="17" y="31"/>
                    <a:pt x="21" y="35"/>
                    <a:pt x="26" y="35"/>
                  </a:cubicBezTo>
                  <a:cubicBezTo>
                    <a:pt x="31" y="35"/>
                    <a:pt x="35" y="31"/>
                    <a:pt x="35" y="26"/>
                  </a:cubicBezTo>
                  <a:cubicBezTo>
                    <a:pt x="35" y="21"/>
                    <a:pt x="31" y="17"/>
                    <a:pt x="26" y="17"/>
                  </a:cubicBezTo>
                  <a:close/>
                  <a:moveTo>
                    <a:pt x="26" y="52"/>
                  </a:moveTo>
                  <a:cubicBezTo>
                    <a:pt x="12" y="52"/>
                    <a:pt x="0" y="40"/>
                    <a:pt x="0" y="26"/>
                  </a:cubicBezTo>
                  <a:cubicBezTo>
                    <a:pt x="0" y="12"/>
                    <a:pt x="12" y="0"/>
                    <a:pt x="26" y="0"/>
                  </a:cubicBezTo>
                  <a:cubicBezTo>
                    <a:pt x="40" y="0"/>
                    <a:pt x="52" y="12"/>
                    <a:pt x="52" y="26"/>
                  </a:cubicBezTo>
                  <a:cubicBezTo>
                    <a:pt x="52" y="40"/>
                    <a:pt x="40" y="52"/>
                    <a:pt x="2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330">
              <a:extLst>
                <a:ext uri="{FF2B5EF4-FFF2-40B4-BE49-F238E27FC236}">
                  <a16:creationId xmlns:a16="http://schemas.microsoft.com/office/drawing/2014/main" id="{FDCD0A6D-5461-4E58-BB38-F5A91C7EA8A9}"/>
                </a:ext>
              </a:extLst>
            </p:cNvPr>
            <p:cNvSpPr>
              <a:spLocks/>
            </p:cNvSpPr>
            <p:nvPr/>
          </p:nvSpPr>
          <p:spPr bwMode="auto">
            <a:xfrm>
              <a:off x="3570288" y="4319588"/>
              <a:ext cx="127000" cy="68263"/>
            </a:xfrm>
            <a:custGeom>
              <a:avLst/>
              <a:gdLst>
                <a:gd name="T0" fmla="*/ 80 w 80"/>
                <a:gd name="T1" fmla="*/ 43 h 43"/>
                <a:gd name="T2" fmla="*/ 33 w 80"/>
                <a:gd name="T3" fmla="*/ 43 h 43"/>
                <a:gd name="T4" fmla="*/ 0 w 80"/>
                <a:gd name="T5" fmla="*/ 10 h 43"/>
                <a:gd name="T6" fmla="*/ 10 w 80"/>
                <a:gd name="T7" fmla="*/ 0 h 43"/>
                <a:gd name="T8" fmla="*/ 39 w 80"/>
                <a:gd name="T9" fmla="*/ 29 h 43"/>
                <a:gd name="T10" fmla="*/ 80 w 80"/>
                <a:gd name="T11" fmla="*/ 29 h 43"/>
                <a:gd name="T12" fmla="*/ 80 w 80"/>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80" h="43">
                  <a:moveTo>
                    <a:pt x="80" y="43"/>
                  </a:moveTo>
                  <a:lnTo>
                    <a:pt x="33" y="43"/>
                  </a:lnTo>
                  <a:lnTo>
                    <a:pt x="0" y="10"/>
                  </a:lnTo>
                  <a:lnTo>
                    <a:pt x="10" y="0"/>
                  </a:lnTo>
                  <a:lnTo>
                    <a:pt x="39" y="29"/>
                  </a:lnTo>
                  <a:lnTo>
                    <a:pt x="80" y="29"/>
                  </a:lnTo>
                  <a:lnTo>
                    <a:pt x="8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331">
              <a:extLst>
                <a:ext uri="{FF2B5EF4-FFF2-40B4-BE49-F238E27FC236}">
                  <a16:creationId xmlns:a16="http://schemas.microsoft.com/office/drawing/2014/main" id="{28CE1030-3E79-4109-8282-A5026F87CF7C}"/>
                </a:ext>
              </a:extLst>
            </p:cNvPr>
            <p:cNvSpPr>
              <a:spLocks/>
            </p:cNvSpPr>
            <p:nvPr/>
          </p:nvSpPr>
          <p:spPr bwMode="auto">
            <a:xfrm>
              <a:off x="3497263" y="4435475"/>
              <a:ext cx="184150" cy="66675"/>
            </a:xfrm>
            <a:custGeom>
              <a:avLst/>
              <a:gdLst>
                <a:gd name="T0" fmla="*/ 116 w 116"/>
                <a:gd name="T1" fmla="*/ 42 h 42"/>
                <a:gd name="T2" fmla="*/ 31 w 116"/>
                <a:gd name="T3" fmla="*/ 42 h 42"/>
                <a:gd name="T4" fmla="*/ 0 w 116"/>
                <a:gd name="T5" fmla="*/ 10 h 42"/>
                <a:gd name="T6" fmla="*/ 9 w 116"/>
                <a:gd name="T7" fmla="*/ 0 h 42"/>
                <a:gd name="T8" fmla="*/ 37 w 116"/>
                <a:gd name="T9" fmla="*/ 27 h 42"/>
                <a:gd name="T10" fmla="*/ 116 w 116"/>
                <a:gd name="T11" fmla="*/ 27 h 42"/>
                <a:gd name="T12" fmla="*/ 116 w 116"/>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16" h="42">
                  <a:moveTo>
                    <a:pt x="116" y="42"/>
                  </a:moveTo>
                  <a:lnTo>
                    <a:pt x="31" y="42"/>
                  </a:lnTo>
                  <a:lnTo>
                    <a:pt x="0" y="10"/>
                  </a:lnTo>
                  <a:lnTo>
                    <a:pt x="9" y="0"/>
                  </a:lnTo>
                  <a:lnTo>
                    <a:pt x="37" y="27"/>
                  </a:lnTo>
                  <a:lnTo>
                    <a:pt x="116" y="27"/>
                  </a:lnTo>
                  <a:lnTo>
                    <a:pt x="116"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332">
              <a:extLst>
                <a:ext uri="{FF2B5EF4-FFF2-40B4-BE49-F238E27FC236}">
                  <a16:creationId xmlns:a16="http://schemas.microsoft.com/office/drawing/2014/main" id="{F9865CC3-4469-4C48-96EE-DD81D0F8BAF4}"/>
                </a:ext>
              </a:extLst>
            </p:cNvPr>
            <p:cNvSpPr>
              <a:spLocks/>
            </p:cNvSpPr>
            <p:nvPr/>
          </p:nvSpPr>
          <p:spPr bwMode="auto">
            <a:xfrm>
              <a:off x="3506788" y="4575175"/>
              <a:ext cx="190500" cy="52388"/>
            </a:xfrm>
            <a:custGeom>
              <a:avLst/>
              <a:gdLst>
                <a:gd name="T0" fmla="*/ 9 w 120"/>
                <a:gd name="T1" fmla="*/ 33 h 33"/>
                <a:gd name="T2" fmla="*/ 0 w 120"/>
                <a:gd name="T3" fmla="*/ 24 h 33"/>
                <a:gd name="T4" fmla="*/ 22 w 120"/>
                <a:gd name="T5" fmla="*/ 0 h 33"/>
                <a:gd name="T6" fmla="*/ 120 w 120"/>
                <a:gd name="T7" fmla="*/ 0 h 33"/>
                <a:gd name="T8" fmla="*/ 120 w 120"/>
                <a:gd name="T9" fmla="*/ 15 h 33"/>
                <a:gd name="T10" fmla="*/ 28 w 120"/>
                <a:gd name="T11" fmla="*/ 15 h 33"/>
                <a:gd name="T12" fmla="*/ 9 w 12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20" h="33">
                  <a:moveTo>
                    <a:pt x="9" y="33"/>
                  </a:moveTo>
                  <a:lnTo>
                    <a:pt x="0" y="24"/>
                  </a:lnTo>
                  <a:lnTo>
                    <a:pt x="22" y="0"/>
                  </a:lnTo>
                  <a:lnTo>
                    <a:pt x="120" y="0"/>
                  </a:lnTo>
                  <a:lnTo>
                    <a:pt x="120" y="15"/>
                  </a:lnTo>
                  <a:lnTo>
                    <a:pt x="28" y="15"/>
                  </a:lnTo>
                  <a:lnTo>
                    <a:pt x="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333">
              <a:extLst>
                <a:ext uri="{FF2B5EF4-FFF2-40B4-BE49-F238E27FC236}">
                  <a16:creationId xmlns:a16="http://schemas.microsoft.com/office/drawing/2014/main" id="{14B9CAFD-BE66-4F35-9723-127D94E92302}"/>
                </a:ext>
              </a:extLst>
            </p:cNvPr>
            <p:cNvSpPr>
              <a:spLocks/>
            </p:cNvSpPr>
            <p:nvPr/>
          </p:nvSpPr>
          <p:spPr bwMode="auto">
            <a:xfrm>
              <a:off x="3590926" y="4660900"/>
              <a:ext cx="166688" cy="84138"/>
            </a:xfrm>
            <a:custGeom>
              <a:avLst/>
              <a:gdLst>
                <a:gd name="T0" fmla="*/ 9 w 105"/>
                <a:gd name="T1" fmla="*/ 53 h 53"/>
                <a:gd name="T2" fmla="*/ 0 w 105"/>
                <a:gd name="T3" fmla="*/ 43 h 53"/>
                <a:gd name="T4" fmla="*/ 42 w 105"/>
                <a:gd name="T5" fmla="*/ 0 h 53"/>
                <a:gd name="T6" fmla="*/ 105 w 105"/>
                <a:gd name="T7" fmla="*/ 0 h 53"/>
                <a:gd name="T8" fmla="*/ 105 w 105"/>
                <a:gd name="T9" fmla="*/ 15 h 53"/>
                <a:gd name="T10" fmla="*/ 48 w 105"/>
                <a:gd name="T11" fmla="*/ 15 h 53"/>
                <a:gd name="T12" fmla="*/ 9 w 10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05" h="53">
                  <a:moveTo>
                    <a:pt x="9" y="53"/>
                  </a:moveTo>
                  <a:lnTo>
                    <a:pt x="0" y="43"/>
                  </a:lnTo>
                  <a:lnTo>
                    <a:pt x="42" y="0"/>
                  </a:lnTo>
                  <a:lnTo>
                    <a:pt x="105" y="0"/>
                  </a:lnTo>
                  <a:lnTo>
                    <a:pt x="105" y="15"/>
                  </a:lnTo>
                  <a:lnTo>
                    <a:pt x="48" y="15"/>
                  </a:lnTo>
                  <a:lnTo>
                    <a:pt x="9"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334">
              <a:extLst>
                <a:ext uri="{FF2B5EF4-FFF2-40B4-BE49-F238E27FC236}">
                  <a16:creationId xmlns:a16="http://schemas.microsoft.com/office/drawing/2014/main" id="{FC564D4C-5C2C-49ED-AB03-3F0354DDF887}"/>
                </a:ext>
              </a:extLst>
            </p:cNvPr>
            <p:cNvSpPr>
              <a:spLocks/>
            </p:cNvSpPr>
            <p:nvPr/>
          </p:nvSpPr>
          <p:spPr bwMode="auto">
            <a:xfrm>
              <a:off x="3665538" y="4383088"/>
              <a:ext cx="123825" cy="68263"/>
            </a:xfrm>
            <a:custGeom>
              <a:avLst/>
              <a:gdLst>
                <a:gd name="T0" fmla="*/ 44 w 78"/>
                <a:gd name="T1" fmla="*/ 43 h 43"/>
                <a:gd name="T2" fmla="*/ 0 w 78"/>
                <a:gd name="T3" fmla="*/ 43 h 43"/>
                <a:gd name="T4" fmla="*/ 0 w 78"/>
                <a:gd name="T5" fmla="*/ 29 h 43"/>
                <a:gd name="T6" fmla="*/ 38 w 78"/>
                <a:gd name="T7" fmla="*/ 29 h 43"/>
                <a:gd name="T8" fmla="*/ 68 w 78"/>
                <a:gd name="T9" fmla="*/ 0 h 43"/>
                <a:gd name="T10" fmla="*/ 78 w 78"/>
                <a:gd name="T11" fmla="*/ 10 h 43"/>
                <a:gd name="T12" fmla="*/ 44 w 78"/>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78" h="43">
                  <a:moveTo>
                    <a:pt x="44" y="43"/>
                  </a:moveTo>
                  <a:lnTo>
                    <a:pt x="0" y="43"/>
                  </a:lnTo>
                  <a:lnTo>
                    <a:pt x="0" y="29"/>
                  </a:lnTo>
                  <a:lnTo>
                    <a:pt x="38" y="29"/>
                  </a:lnTo>
                  <a:lnTo>
                    <a:pt x="68" y="0"/>
                  </a:lnTo>
                  <a:lnTo>
                    <a:pt x="78" y="10"/>
                  </a:lnTo>
                  <a:lnTo>
                    <a:pt x="4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335">
              <a:extLst>
                <a:ext uri="{FF2B5EF4-FFF2-40B4-BE49-F238E27FC236}">
                  <a16:creationId xmlns:a16="http://schemas.microsoft.com/office/drawing/2014/main" id="{F08C38C1-5CB1-4BFD-B883-B639F726D949}"/>
                </a:ext>
              </a:extLst>
            </p:cNvPr>
            <p:cNvSpPr>
              <a:spLocks/>
            </p:cNvSpPr>
            <p:nvPr/>
          </p:nvSpPr>
          <p:spPr bwMode="auto">
            <a:xfrm>
              <a:off x="3665538" y="4494213"/>
              <a:ext cx="192088" cy="57150"/>
            </a:xfrm>
            <a:custGeom>
              <a:avLst/>
              <a:gdLst>
                <a:gd name="T0" fmla="*/ 95 w 121"/>
                <a:gd name="T1" fmla="*/ 36 h 36"/>
                <a:gd name="T2" fmla="*/ 0 w 121"/>
                <a:gd name="T3" fmla="*/ 36 h 36"/>
                <a:gd name="T4" fmla="*/ 0 w 121"/>
                <a:gd name="T5" fmla="*/ 22 h 36"/>
                <a:gd name="T6" fmla="*/ 89 w 121"/>
                <a:gd name="T7" fmla="*/ 22 h 36"/>
                <a:gd name="T8" fmla="*/ 111 w 121"/>
                <a:gd name="T9" fmla="*/ 0 h 36"/>
                <a:gd name="T10" fmla="*/ 121 w 121"/>
                <a:gd name="T11" fmla="*/ 10 h 36"/>
                <a:gd name="T12" fmla="*/ 95 w 121"/>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1" h="36">
                  <a:moveTo>
                    <a:pt x="95" y="36"/>
                  </a:moveTo>
                  <a:lnTo>
                    <a:pt x="0" y="36"/>
                  </a:lnTo>
                  <a:lnTo>
                    <a:pt x="0" y="22"/>
                  </a:lnTo>
                  <a:lnTo>
                    <a:pt x="89" y="22"/>
                  </a:lnTo>
                  <a:lnTo>
                    <a:pt x="111" y="0"/>
                  </a:lnTo>
                  <a:lnTo>
                    <a:pt x="121" y="10"/>
                  </a:lnTo>
                  <a:lnTo>
                    <a:pt x="95"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336">
              <a:extLst>
                <a:ext uri="{FF2B5EF4-FFF2-40B4-BE49-F238E27FC236}">
                  <a16:creationId xmlns:a16="http://schemas.microsoft.com/office/drawing/2014/main" id="{385EC79D-E385-4164-B961-5C47151AE11E}"/>
                </a:ext>
              </a:extLst>
            </p:cNvPr>
            <p:cNvSpPr>
              <a:spLocks/>
            </p:cNvSpPr>
            <p:nvPr/>
          </p:nvSpPr>
          <p:spPr bwMode="auto">
            <a:xfrm>
              <a:off x="3705226" y="4611688"/>
              <a:ext cx="163513" cy="57150"/>
            </a:xfrm>
            <a:custGeom>
              <a:avLst/>
              <a:gdLst>
                <a:gd name="T0" fmla="*/ 93 w 103"/>
                <a:gd name="T1" fmla="*/ 36 h 36"/>
                <a:gd name="T2" fmla="*/ 72 w 103"/>
                <a:gd name="T3" fmla="*/ 14 h 36"/>
                <a:gd name="T4" fmla="*/ 0 w 103"/>
                <a:gd name="T5" fmla="*/ 14 h 36"/>
                <a:gd name="T6" fmla="*/ 0 w 103"/>
                <a:gd name="T7" fmla="*/ 0 h 36"/>
                <a:gd name="T8" fmla="*/ 78 w 103"/>
                <a:gd name="T9" fmla="*/ 0 h 36"/>
                <a:gd name="T10" fmla="*/ 103 w 103"/>
                <a:gd name="T11" fmla="*/ 26 h 36"/>
                <a:gd name="T12" fmla="*/ 93 w 103"/>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03" h="36">
                  <a:moveTo>
                    <a:pt x="93" y="36"/>
                  </a:moveTo>
                  <a:lnTo>
                    <a:pt x="72" y="14"/>
                  </a:lnTo>
                  <a:lnTo>
                    <a:pt x="0" y="14"/>
                  </a:lnTo>
                  <a:lnTo>
                    <a:pt x="0" y="0"/>
                  </a:lnTo>
                  <a:lnTo>
                    <a:pt x="78" y="0"/>
                  </a:lnTo>
                  <a:lnTo>
                    <a:pt x="103" y="26"/>
                  </a:lnTo>
                  <a:lnTo>
                    <a:pt x="9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1" name="Alarm4" descr="{&quot;Key&quot;:&quot;POWER_USER_SHAPE_ICON&quot;,&quot;Value&quot;:&quot;POWER_USER_SHAPE_ICON_STYLE_1&quot;}">
            <a:extLst>
              <a:ext uri="{FF2B5EF4-FFF2-40B4-BE49-F238E27FC236}">
                <a16:creationId xmlns:a16="http://schemas.microsoft.com/office/drawing/2014/main" id="{E6A1D1B1-CA69-46B6-83E0-E4EF378D52F5}"/>
              </a:ext>
            </a:extLst>
          </p:cNvPr>
          <p:cNvGrpSpPr>
            <a:grpSpLocks noChangeAspect="1"/>
          </p:cNvGrpSpPr>
          <p:nvPr/>
        </p:nvGrpSpPr>
        <p:grpSpPr>
          <a:xfrm>
            <a:off x="8836737" y="1253966"/>
            <a:ext cx="527926" cy="597218"/>
            <a:chOff x="7680326" y="6435725"/>
            <a:chExt cx="254000" cy="287338"/>
          </a:xfrm>
          <a:solidFill>
            <a:schemeClr val="bg1"/>
          </a:solidFill>
        </p:grpSpPr>
        <p:sp>
          <p:nvSpPr>
            <p:cNvPr id="158" name="Freeform 99">
              <a:extLst>
                <a:ext uri="{FF2B5EF4-FFF2-40B4-BE49-F238E27FC236}">
                  <a16:creationId xmlns:a16="http://schemas.microsoft.com/office/drawing/2014/main" id="{0140B1A9-7CAE-44ED-A1A5-DAD959BFB7E3}"/>
                </a:ext>
              </a:extLst>
            </p:cNvPr>
            <p:cNvSpPr>
              <a:spLocks/>
            </p:cNvSpPr>
            <p:nvPr/>
          </p:nvSpPr>
          <p:spPr bwMode="auto">
            <a:xfrm>
              <a:off x="7700963" y="6662738"/>
              <a:ext cx="212725" cy="60325"/>
            </a:xfrm>
            <a:custGeom>
              <a:avLst/>
              <a:gdLst>
                <a:gd name="T0" fmla="*/ 982 w 1032"/>
                <a:gd name="T1" fmla="*/ 279 h 296"/>
                <a:gd name="T2" fmla="*/ 982 w 1032"/>
                <a:gd name="T3" fmla="*/ 263 h 296"/>
                <a:gd name="T4" fmla="*/ 50 w 1032"/>
                <a:gd name="T5" fmla="*/ 263 h 296"/>
                <a:gd name="T6" fmla="*/ 34 w 1032"/>
                <a:gd name="T7" fmla="*/ 246 h 296"/>
                <a:gd name="T8" fmla="*/ 34 w 1032"/>
                <a:gd name="T9" fmla="*/ 50 h 296"/>
                <a:gd name="T10" fmla="*/ 50 w 1032"/>
                <a:gd name="T11" fmla="*/ 33 h 296"/>
                <a:gd name="T12" fmla="*/ 982 w 1032"/>
                <a:gd name="T13" fmla="*/ 33 h 296"/>
                <a:gd name="T14" fmla="*/ 999 w 1032"/>
                <a:gd name="T15" fmla="*/ 50 h 296"/>
                <a:gd name="T16" fmla="*/ 999 w 1032"/>
                <a:gd name="T17" fmla="*/ 246 h 296"/>
                <a:gd name="T18" fmla="*/ 982 w 1032"/>
                <a:gd name="T19" fmla="*/ 263 h 296"/>
                <a:gd name="T20" fmla="*/ 982 w 1032"/>
                <a:gd name="T21" fmla="*/ 279 h 296"/>
                <a:gd name="T22" fmla="*/ 982 w 1032"/>
                <a:gd name="T23" fmla="*/ 296 h 296"/>
                <a:gd name="T24" fmla="*/ 1032 w 1032"/>
                <a:gd name="T25" fmla="*/ 246 h 296"/>
                <a:gd name="T26" fmla="*/ 1032 w 1032"/>
                <a:gd name="T27" fmla="*/ 50 h 296"/>
                <a:gd name="T28" fmla="*/ 982 w 1032"/>
                <a:gd name="T29" fmla="*/ 0 h 296"/>
                <a:gd name="T30" fmla="*/ 50 w 1032"/>
                <a:gd name="T31" fmla="*/ 0 h 296"/>
                <a:gd name="T32" fmla="*/ 0 w 1032"/>
                <a:gd name="T33" fmla="*/ 50 h 296"/>
                <a:gd name="T34" fmla="*/ 0 w 1032"/>
                <a:gd name="T35" fmla="*/ 246 h 296"/>
                <a:gd name="T36" fmla="*/ 50 w 1032"/>
                <a:gd name="T37" fmla="*/ 296 h 296"/>
                <a:gd name="T38" fmla="*/ 982 w 1032"/>
                <a:gd name="T39" fmla="*/ 296 h 296"/>
                <a:gd name="T40" fmla="*/ 982 w 1032"/>
                <a:gd name="T41" fmla="*/ 27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2" h="296">
                  <a:moveTo>
                    <a:pt x="982" y="279"/>
                  </a:moveTo>
                  <a:lnTo>
                    <a:pt x="982" y="263"/>
                  </a:lnTo>
                  <a:lnTo>
                    <a:pt x="50" y="263"/>
                  </a:lnTo>
                  <a:cubicBezTo>
                    <a:pt x="41" y="263"/>
                    <a:pt x="34" y="255"/>
                    <a:pt x="34" y="246"/>
                  </a:cubicBezTo>
                  <a:lnTo>
                    <a:pt x="34" y="50"/>
                  </a:lnTo>
                  <a:cubicBezTo>
                    <a:pt x="34" y="41"/>
                    <a:pt x="41" y="33"/>
                    <a:pt x="50" y="33"/>
                  </a:cubicBezTo>
                  <a:lnTo>
                    <a:pt x="982" y="33"/>
                  </a:lnTo>
                  <a:cubicBezTo>
                    <a:pt x="992" y="33"/>
                    <a:pt x="999" y="41"/>
                    <a:pt x="999" y="50"/>
                  </a:cubicBezTo>
                  <a:lnTo>
                    <a:pt x="999" y="246"/>
                  </a:lnTo>
                  <a:cubicBezTo>
                    <a:pt x="999" y="255"/>
                    <a:pt x="992" y="263"/>
                    <a:pt x="982" y="263"/>
                  </a:cubicBezTo>
                  <a:lnTo>
                    <a:pt x="982" y="279"/>
                  </a:lnTo>
                  <a:lnTo>
                    <a:pt x="982" y="296"/>
                  </a:lnTo>
                  <a:cubicBezTo>
                    <a:pt x="1010" y="296"/>
                    <a:pt x="1032" y="274"/>
                    <a:pt x="1032" y="246"/>
                  </a:cubicBezTo>
                  <a:lnTo>
                    <a:pt x="1032" y="50"/>
                  </a:lnTo>
                  <a:cubicBezTo>
                    <a:pt x="1032" y="22"/>
                    <a:pt x="1010" y="0"/>
                    <a:pt x="982" y="0"/>
                  </a:cubicBezTo>
                  <a:lnTo>
                    <a:pt x="50" y="0"/>
                  </a:lnTo>
                  <a:cubicBezTo>
                    <a:pt x="23" y="0"/>
                    <a:pt x="0" y="22"/>
                    <a:pt x="0" y="50"/>
                  </a:cubicBezTo>
                  <a:lnTo>
                    <a:pt x="0" y="246"/>
                  </a:lnTo>
                  <a:cubicBezTo>
                    <a:pt x="0" y="274"/>
                    <a:pt x="23" y="296"/>
                    <a:pt x="50" y="296"/>
                  </a:cubicBezTo>
                  <a:lnTo>
                    <a:pt x="982" y="296"/>
                  </a:lnTo>
                  <a:lnTo>
                    <a:pt x="982"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100">
              <a:extLst>
                <a:ext uri="{FF2B5EF4-FFF2-40B4-BE49-F238E27FC236}">
                  <a16:creationId xmlns:a16="http://schemas.microsoft.com/office/drawing/2014/main" id="{E394AB4A-411A-49F8-85DD-65751E18631E}"/>
                </a:ext>
              </a:extLst>
            </p:cNvPr>
            <p:cNvSpPr>
              <a:spLocks/>
            </p:cNvSpPr>
            <p:nvPr/>
          </p:nvSpPr>
          <p:spPr bwMode="auto">
            <a:xfrm>
              <a:off x="7729538" y="6626225"/>
              <a:ext cx="155575" cy="42863"/>
            </a:xfrm>
            <a:custGeom>
              <a:avLst/>
              <a:gdLst>
                <a:gd name="T0" fmla="*/ 96 w 98"/>
                <a:gd name="T1" fmla="*/ 25 h 27"/>
                <a:gd name="T2" fmla="*/ 96 w 98"/>
                <a:gd name="T3" fmla="*/ 23 h 27"/>
                <a:gd name="T4" fmla="*/ 5 w 98"/>
                <a:gd name="T5" fmla="*/ 23 h 27"/>
                <a:gd name="T6" fmla="*/ 5 w 98"/>
                <a:gd name="T7" fmla="*/ 4 h 27"/>
                <a:gd name="T8" fmla="*/ 93 w 98"/>
                <a:gd name="T9" fmla="*/ 4 h 27"/>
                <a:gd name="T10" fmla="*/ 93 w 98"/>
                <a:gd name="T11" fmla="*/ 25 h 27"/>
                <a:gd name="T12" fmla="*/ 96 w 98"/>
                <a:gd name="T13" fmla="*/ 25 h 27"/>
                <a:gd name="T14" fmla="*/ 96 w 98"/>
                <a:gd name="T15" fmla="*/ 23 h 27"/>
                <a:gd name="T16" fmla="*/ 96 w 98"/>
                <a:gd name="T17" fmla="*/ 25 h 27"/>
                <a:gd name="T18" fmla="*/ 98 w 98"/>
                <a:gd name="T19" fmla="*/ 25 h 27"/>
                <a:gd name="T20" fmla="*/ 98 w 98"/>
                <a:gd name="T21" fmla="*/ 0 h 27"/>
                <a:gd name="T22" fmla="*/ 0 w 98"/>
                <a:gd name="T23" fmla="*/ 0 h 27"/>
                <a:gd name="T24" fmla="*/ 0 w 98"/>
                <a:gd name="T25" fmla="*/ 27 h 27"/>
                <a:gd name="T26" fmla="*/ 98 w 98"/>
                <a:gd name="T27" fmla="*/ 27 h 27"/>
                <a:gd name="T28" fmla="*/ 98 w 98"/>
                <a:gd name="T29" fmla="*/ 25 h 27"/>
                <a:gd name="T30" fmla="*/ 96 w 98"/>
                <a:gd name="T31"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27">
                  <a:moveTo>
                    <a:pt x="96" y="25"/>
                  </a:moveTo>
                  <a:lnTo>
                    <a:pt x="96" y="23"/>
                  </a:lnTo>
                  <a:lnTo>
                    <a:pt x="5" y="23"/>
                  </a:lnTo>
                  <a:lnTo>
                    <a:pt x="5" y="4"/>
                  </a:lnTo>
                  <a:lnTo>
                    <a:pt x="93" y="4"/>
                  </a:lnTo>
                  <a:lnTo>
                    <a:pt x="93" y="25"/>
                  </a:lnTo>
                  <a:lnTo>
                    <a:pt x="96" y="25"/>
                  </a:lnTo>
                  <a:lnTo>
                    <a:pt x="96" y="23"/>
                  </a:lnTo>
                  <a:lnTo>
                    <a:pt x="96" y="25"/>
                  </a:lnTo>
                  <a:lnTo>
                    <a:pt x="98" y="25"/>
                  </a:lnTo>
                  <a:lnTo>
                    <a:pt x="98" y="0"/>
                  </a:lnTo>
                  <a:lnTo>
                    <a:pt x="0" y="0"/>
                  </a:lnTo>
                  <a:lnTo>
                    <a:pt x="0" y="27"/>
                  </a:lnTo>
                  <a:lnTo>
                    <a:pt x="98" y="27"/>
                  </a:lnTo>
                  <a:lnTo>
                    <a:pt x="98" y="25"/>
                  </a:lnTo>
                  <a:lnTo>
                    <a:pt x="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101">
              <a:extLst>
                <a:ext uri="{FF2B5EF4-FFF2-40B4-BE49-F238E27FC236}">
                  <a16:creationId xmlns:a16="http://schemas.microsoft.com/office/drawing/2014/main" id="{96B9BC57-F703-4C13-8DB6-16553A25A630}"/>
                </a:ext>
              </a:extLst>
            </p:cNvPr>
            <p:cNvSpPr>
              <a:spLocks/>
            </p:cNvSpPr>
            <p:nvPr/>
          </p:nvSpPr>
          <p:spPr bwMode="auto">
            <a:xfrm>
              <a:off x="7729538" y="6473825"/>
              <a:ext cx="155575" cy="158750"/>
            </a:xfrm>
            <a:custGeom>
              <a:avLst/>
              <a:gdLst>
                <a:gd name="T0" fmla="*/ 445 w 755"/>
                <a:gd name="T1" fmla="*/ 17 h 769"/>
                <a:gd name="T2" fmla="*/ 445 w 755"/>
                <a:gd name="T3" fmla="*/ 0 h 769"/>
                <a:gd name="T4" fmla="*/ 310 w 755"/>
                <a:gd name="T5" fmla="*/ 0 h 769"/>
                <a:gd name="T6" fmla="*/ 0 w 755"/>
                <a:gd name="T7" fmla="*/ 309 h 769"/>
                <a:gd name="T8" fmla="*/ 0 w 755"/>
                <a:gd name="T9" fmla="*/ 769 h 769"/>
                <a:gd name="T10" fmla="*/ 755 w 755"/>
                <a:gd name="T11" fmla="*/ 769 h 769"/>
                <a:gd name="T12" fmla="*/ 755 w 755"/>
                <a:gd name="T13" fmla="*/ 309 h 769"/>
                <a:gd name="T14" fmla="*/ 445 w 755"/>
                <a:gd name="T15" fmla="*/ 0 h 769"/>
                <a:gd name="T16" fmla="*/ 445 w 755"/>
                <a:gd name="T17" fmla="*/ 17 h 769"/>
                <a:gd name="T18" fmla="*/ 445 w 755"/>
                <a:gd name="T19" fmla="*/ 33 h 769"/>
                <a:gd name="T20" fmla="*/ 640 w 755"/>
                <a:gd name="T21" fmla="*/ 114 h 769"/>
                <a:gd name="T22" fmla="*/ 721 w 755"/>
                <a:gd name="T23" fmla="*/ 309 h 769"/>
                <a:gd name="T24" fmla="*/ 721 w 755"/>
                <a:gd name="T25" fmla="*/ 736 h 769"/>
                <a:gd name="T26" fmla="*/ 33 w 755"/>
                <a:gd name="T27" fmla="*/ 736 h 769"/>
                <a:gd name="T28" fmla="*/ 33 w 755"/>
                <a:gd name="T29" fmla="*/ 309 h 769"/>
                <a:gd name="T30" fmla="*/ 114 w 755"/>
                <a:gd name="T31" fmla="*/ 114 h 769"/>
                <a:gd name="T32" fmla="*/ 310 w 755"/>
                <a:gd name="T33" fmla="*/ 33 h 769"/>
                <a:gd name="T34" fmla="*/ 445 w 755"/>
                <a:gd name="T35" fmla="*/ 33 h 769"/>
                <a:gd name="T36" fmla="*/ 445 w 755"/>
                <a:gd name="T37" fmla="*/ 17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5" h="769">
                  <a:moveTo>
                    <a:pt x="445" y="17"/>
                  </a:moveTo>
                  <a:lnTo>
                    <a:pt x="445" y="0"/>
                  </a:lnTo>
                  <a:lnTo>
                    <a:pt x="310" y="0"/>
                  </a:lnTo>
                  <a:cubicBezTo>
                    <a:pt x="139" y="0"/>
                    <a:pt x="0" y="139"/>
                    <a:pt x="0" y="309"/>
                  </a:cubicBezTo>
                  <a:lnTo>
                    <a:pt x="0" y="769"/>
                  </a:lnTo>
                  <a:lnTo>
                    <a:pt x="755" y="769"/>
                  </a:lnTo>
                  <a:lnTo>
                    <a:pt x="755" y="309"/>
                  </a:lnTo>
                  <a:cubicBezTo>
                    <a:pt x="755" y="139"/>
                    <a:pt x="616" y="0"/>
                    <a:pt x="445" y="0"/>
                  </a:cubicBezTo>
                  <a:lnTo>
                    <a:pt x="445" y="17"/>
                  </a:lnTo>
                  <a:lnTo>
                    <a:pt x="445" y="33"/>
                  </a:lnTo>
                  <a:cubicBezTo>
                    <a:pt x="521" y="33"/>
                    <a:pt x="590" y="64"/>
                    <a:pt x="640" y="114"/>
                  </a:cubicBezTo>
                  <a:cubicBezTo>
                    <a:pt x="690" y="164"/>
                    <a:pt x="721" y="233"/>
                    <a:pt x="721" y="309"/>
                  </a:cubicBezTo>
                  <a:lnTo>
                    <a:pt x="721" y="736"/>
                  </a:lnTo>
                  <a:lnTo>
                    <a:pt x="33" y="736"/>
                  </a:lnTo>
                  <a:lnTo>
                    <a:pt x="33" y="309"/>
                  </a:lnTo>
                  <a:cubicBezTo>
                    <a:pt x="33" y="233"/>
                    <a:pt x="64" y="164"/>
                    <a:pt x="114" y="114"/>
                  </a:cubicBezTo>
                  <a:cubicBezTo>
                    <a:pt x="164" y="64"/>
                    <a:pt x="233" y="33"/>
                    <a:pt x="310" y="33"/>
                  </a:cubicBezTo>
                  <a:lnTo>
                    <a:pt x="445" y="33"/>
                  </a:lnTo>
                  <a:lnTo>
                    <a:pt x="44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Rectangle 102">
              <a:extLst>
                <a:ext uri="{FF2B5EF4-FFF2-40B4-BE49-F238E27FC236}">
                  <a16:creationId xmlns:a16="http://schemas.microsoft.com/office/drawing/2014/main" id="{4B0460F9-C297-4EFD-B44E-736DDF569F37}"/>
                </a:ext>
              </a:extLst>
            </p:cNvPr>
            <p:cNvSpPr>
              <a:spLocks noChangeArrowheads="1"/>
            </p:cNvSpPr>
            <p:nvPr/>
          </p:nvSpPr>
          <p:spPr bwMode="auto">
            <a:xfrm>
              <a:off x="7804151" y="6592888"/>
              <a:ext cx="6350"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103">
              <a:extLst>
                <a:ext uri="{FF2B5EF4-FFF2-40B4-BE49-F238E27FC236}">
                  <a16:creationId xmlns:a16="http://schemas.microsoft.com/office/drawing/2014/main" id="{34ADC5AC-9B13-44BD-8A31-8C8FC4764DB9}"/>
                </a:ext>
              </a:extLst>
            </p:cNvPr>
            <p:cNvSpPr>
              <a:spLocks/>
            </p:cNvSpPr>
            <p:nvPr/>
          </p:nvSpPr>
          <p:spPr bwMode="auto">
            <a:xfrm>
              <a:off x="7775576" y="6535738"/>
              <a:ext cx="63500" cy="61913"/>
            </a:xfrm>
            <a:custGeom>
              <a:avLst/>
              <a:gdLst>
                <a:gd name="T0" fmla="*/ 292 w 308"/>
                <a:gd name="T1" fmla="*/ 154 h 308"/>
                <a:gd name="T2" fmla="*/ 275 w 308"/>
                <a:gd name="T3" fmla="*/ 154 h 308"/>
                <a:gd name="T4" fmla="*/ 240 w 308"/>
                <a:gd name="T5" fmla="*/ 239 h 308"/>
                <a:gd name="T6" fmla="*/ 154 w 308"/>
                <a:gd name="T7" fmla="*/ 275 h 308"/>
                <a:gd name="T8" fmla="*/ 69 w 308"/>
                <a:gd name="T9" fmla="*/ 239 h 308"/>
                <a:gd name="T10" fmla="*/ 34 w 308"/>
                <a:gd name="T11" fmla="*/ 154 h 308"/>
                <a:gd name="T12" fmla="*/ 69 w 308"/>
                <a:gd name="T13" fmla="*/ 69 h 308"/>
                <a:gd name="T14" fmla="*/ 154 w 308"/>
                <a:gd name="T15" fmla="*/ 33 h 308"/>
                <a:gd name="T16" fmla="*/ 240 w 308"/>
                <a:gd name="T17" fmla="*/ 69 h 308"/>
                <a:gd name="T18" fmla="*/ 275 w 308"/>
                <a:gd name="T19" fmla="*/ 154 h 308"/>
                <a:gd name="T20" fmla="*/ 292 w 308"/>
                <a:gd name="T21" fmla="*/ 154 h 308"/>
                <a:gd name="T22" fmla="*/ 308 w 308"/>
                <a:gd name="T23" fmla="*/ 154 h 308"/>
                <a:gd name="T24" fmla="*/ 154 w 308"/>
                <a:gd name="T25" fmla="*/ 0 h 308"/>
                <a:gd name="T26" fmla="*/ 0 w 308"/>
                <a:gd name="T27" fmla="*/ 154 h 308"/>
                <a:gd name="T28" fmla="*/ 154 w 308"/>
                <a:gd name="T29" fmla="*/ 308 h 308"/>
                <a:gd name="T30" fmla="*/ 308 w 308"/>
                <a:gd name="T31" fmla="*/ 154 h 308"/>
                <a:gd name="T32" fmla="*/ 292 w 308"/>
                <a:gd name="T33" fmla="*/ 15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8" h="308">
                  <a:moveTo>
                    <a:pt x="292" y="154"/>
                  </a:moveTo>
                  <a:lnTo>
                    <a:pt x="275" y="154"/>
                  </a:lnTo>
                  <a:cubicBezTo>
                    <a:pt x="275" y="187"/>
                    <a:pt x="261" y="217"/>
                    <a:pt x="240" y="239"/>
                  </a:cubicBezTo>
                  <a:cubicBezTo>
                    <a:pt x="218" y="261"/>
                    <a:pt x="188" y="275"/>
                    <a:pt x="154" y="275"/>
                  </a:cubicBezTo>
                  <a:cubicBezTo>
                    <a:pt x="121" y="275"/>
                    <a:pt x="91" y="261"/>
                    <a:pt x="69" y="239"/>
                  </a:cubicBezTo>
                  <a:cubicBezTo>
                    <a:pt x="47" y="217"/>
                    <a:pt x="34" y="187"/>
                    <a:pt x="34" y="154"/>
                  </a:cubicBezTo>
                  <a:cubicBezTo>
                    <a:pt x="34" y="121"/>
                    <a:pt x="47" y="91"/>
                    <a:pt x="69" y="69"/>
                  </a:cubicBezTo>
                  <a:cubicBezTo>
                    <a:pt x="91" y="47"/>
                    <a:pt x="121" y="33"/>
                    <a:pt x="154" y="33"/>
                  </a:cubicBezTo>
                  <a:cubicBezTo>
                    <a:pt x="188" y="33"/>
                    <a:pt x="218" y="47"/>
                    <a:pt x="240" y="69"/>
                  </a:cubicBezTo>
                  <a:cubicBezTo>
                    <a:pt x="261" y="91"/>
                    <a:pt x="275" y="121"/>
                    <a:pt x="275" y="154"/>
                  </a:cubicBezTo>
                  <a:lnTo>
                    <a:pt x="292" y="154"/>
                  </a:lnTo>
                  <a:lnTo>
                    <a:pt x="308" y="154"/>
                  </a:lnTo>
                  <a:cubicBezTo>
                    <a:pt x="308" y="69"/>
                    <a:pt x="239" y="0"/>
                    <a:pt x="154" y="0"/>
                  </a:cubicBezTo>
                  <a:cubicBezTo>
                    <a:pt x="69" y="0"/>
                    <a:pt x="0" y="69"/>
                    <a:pt x="0" y="154"/>
                  </a:cubicBezTo>
                  <a:cubicBezTo>
                    <a:pt x="0" y="239"/>
                    <a:pt x="69" y="308"/>
                    <a:pt x="154" y="308"/>
                  </a:cubicBezTo>
                  <a:cubicBezTo>
                    <a:pt x="239" y="308"/>
                    <a:pt x="308" y="239"/>
                    <a:pt x="308" y="154"/>
                  </a:cubicBezTo>
                  <a:lnTo>
                    <a:pt x="292"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104">
              <a:extLst>
                <a:ext uri="{FF2B5EF4-FFF2-40B4-BE49-F238E27FC236}">
                  <a16:creationId xmlns:a16="http://schemas.microsoft.com/office/drawing/2014/main" id="{0D69D26A-66CE-42A6-8A75-02D50BC02B83}"/>
                </a:ext>
              </a:extLst>
            </p:cNvPr>
            <p:cNvSpPr>
              <a:spLocks/>
            </p:cNvSpPr>
            <p:nvPr/>
          </p:nvSpPr>
          <p:spPr bwMode="auto">
            <a:xfrm>
              <a:off x="7791451" y="6550025"/>
              <a:ext cx="31750" cy="33338"/>
            </a:xfrm>
            <a:custGeom>
              <a:avLst/>
              <a:gdLst>
                <a:gd name="T0" fmla="*/ 144 w 160"/>
                <a:gd name="T1" fmla="*/ 80 h 160"/>
                <a:gd name="T2" fmla="*/ 127 w 160"/>
                <a:gd name="T3" fmla="*/ 80 h 160"/>
                <a:gd name="T4" fmla="*/ 80 w 160"/>
                <a:gd name="T5" fmla="*/ 127 h 160"/>
                <a:gd name="T6" fmla="*/ 34 w 160"/>
                <a:gd name="T7" fmla="*/ 80 h 160"/>
                <a:gd name="T8" fmla="*/ 80 w 160"/>
                <a:gd name="T9" fmla="*/ 33 h 160"/>
                <a:gd name="T10" fmla="*/ 127 w 160"/>
                <a:gd name="T11" fmla="*/ 80 h 160"/>
                <a:gd name="T12" fmla="*/ 144 w 160"/>
                <a:gd name="T13" fmla="*/ 80 h 160"/>
                <a:gd name="T14" fmla="*/ 160 w 160"/>
                <a:gd name="T15" fmla="*/ 80 h 160"/>
                <a:gd name="T16" fmla="*/ 80 w 160"/>
                <a:gd name="T17" fmla="*/ 0 h 160"/>
                <a:gd name="T18" fmla="*/ 0 w 160"/>
                <a:gd name="T19" fmla="*/ 80 h 160"/>
                <a:gd name="T20" fmla="*/ 80 w 160"/>
                <a:gd name="T21" fmla="*/ 160 h 160"/>
                <a:gd name="T22" fmla="*/ 160 w 160"/>
                <a:gd name="T23" fmla="*/ 80 h 160"/>
                <a:gd name="T24" fmla="*/ 144 w 160"/>
                <a:gd name="T2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0" h="160">
                  <a:moveTo>
                    <a:pt x="144" y="80"/>
                  </a:moveTo>
                  <a:lnTo>
                    <a:pt x="127" y="80"/>
                  </a:lnTo>
                  <a:cubicBezTo>
                    <a:pt x="127" y="106"/>
                    <a:pt x="106" y="127"/>
                    <a:pt x="80" y="127"/>
                  </a:cubicBezTo>
                  <a:cubicBezTo>
                    <a:pt x="55" y="127"/>
                    <a:pt x="34" y="106"/>
                    <a:pt x="34" y="80"/>
                  </a:cubicBezTo>
                  <a:cubicBezTo>
                    <a:pt x="34" y="54"/>
                    <a:pt x="55" y="33"/>
                    <a:pt x="80" y="33"/>
                  </a:cubicBezTo>
                  <a:cubicBezTo>
                    <a:pt x="106" y="33"/>
                    <a:pt x="127" y="54"/>
                    <a:pt x="127" y="80"/>
                  </a:cubicBezTo>
                  <a:lnTo>
                    <a:pt x="144" y="80"/>
                  </a:lnTo>
                  <a:lnTo>
                    <a:pt x="160" y="80"/>
                  </a:lnTo>
                  <a:cubicBezTo>
                    <a:pt x="160" y="36"/>
                    <a:pt x="125" y="0"/>
                    <a:pt x="80" y="0"/>
                  </a:cubicBezTo>
                  <a:cubicBezTo>
                    <a:pt x="36" y="0"/>
                    <a:pt x="0" y="36"/>
                    <a:pt x="0" y="80"/>
                  </a:cubicBezTo>
                  <a:cubicBezTo>
                    <a:pt x="0" y="124"/>
                    <a:pt x="36" y="160"/>
                    <a:pt x="80" y="160"/>
                  </a:cubicBezTo>
                  <a:cubicBezTo>
                    <a:pt x="125" y="160"/>
                    <a:pt x="160" y="124"/>
                    <a:pt x="160" y="80"/>
                  </a:cubicBezTo>
                  <a:lnTo>
                    <a:pt x="14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Rectangle 105">
              <a:extLst>
                <a:ext uri="{FF2B5EF4-FFF2-40B4-BE49-F238E27FC236}">
                  <a16:creationId xmlns:a16="http://schemas.microsoft.com/office/drawing/2014/main" id="{34D2CB8C-1A83-4FCE-A4FB-CC36771B6B60}"/>
                </a:ext>
              </a:extLst>
            </p:cNvPr>
            <p:cNvSpPr>
              <a:spLocks noChangeArrowheads="1"/>
            </p:cNvSpPr>
            <p:nvPr/>
          </p:nvSpPr>
          <p:spPr bwMode="auto">
            <a:xfrm>
              <a:off x="7804151" y="6435725"/>
              <a:ext cx="6350"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106">
              <a:extLst>
                <a:ext uri="{FF2B5EF4-FFF2-40B4-BE49-F238E27FC236}">
                  <a16:creationId xmlns:a16="http://schemas.microsoft.com/office/drawing/2014/main" id="{FA00C2D8-8408-4BF8-A51B-E74724BFEC35}"/>
                </a:ext>
              </a:extLst>
            </p:cNvPr>
            <p:cNvSpPr>
              <a:spLocks/>
            </p:cNvSpPr>
            <p:nvPr/>
          </p:nvSpPr>
          <p:spPr bwMode="auto">
            <a:xfrm>
              <a:off x="7727951" y="6457950"/>
              <a:ext cx="22225" cy="28575"/>
            </a:xfrm>
            <a:custGeom>
              <a:avLst/>
              <a:gdLst>
                <a:gd name="T0" fmla="*/ 110 w 110"/>
                <a:gd name="T1" fmla="*/ 116 h 135"/>
                <a:gd name="T2" fmla="*/ 27 w 110"/>
                <a:gd name="T3" fmla="*/ 0 h 135"/>
                <a:gd name="T4" fmla="*/ 0 w 110"/>
                <a:gd name="T5" fmla="*/ 20 h 135"/>
                <a:gd name="T6" fmla="*/ 83 w 110"/>
                <a:gd name="T7" fmla="*/ 135 h 135"/>
              </a:gdLst>
              <a:ahLst/>
              <a:cxnLst>
                <a:cxn ang="0">
                  <a:pos x="T0" y="T1"/>
                </a:cxn>
                <a:cxn ang="0">
                  <a:pos x="T2" y="T3"/>
                </a:cxn>
                <a:cxn ang="0">
                  <a:pos x="T4" y="T5"/>
                </a:cxn>
                <a:cxn ang="0">
                  <a:pos x="T6" y="T7"/>
                </a:cxn>
              </a:cxnLst>
              <a:rect l="0" t="0" r="r" b="b"/>
              <a:pathLst>
                <a:path w="110" h="135">
                  <a:moveTo>
                    <a:pt x="110" y="116"/>
                  </a:moveTo>
                  <a:lnTo>
                    <a:pt x="27" y="0"/>
                  </a:lnTo>
                  <a:lnTo>
                    <a:pt x="0" y="20"/>
                  </a:lnTo>
                  <a:lnTo>
                    <a:pt x="83" y="13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107">
              <a:extLst>
                <a:ext uri="{FF2B5EF4-FFF2-40B4-BE49-F238E27FC236}">
                  <a16:creationId xmlns:a16="http://schemas.microsoft.com/office/drawing/2014/main" id="{E3A35EE7-840D-4CF4-BE80-6E20C7F79EC4}"/>
                </a:ext>
              </a:extLst>
            </p:cNvPr>
            <p:cNvSpPr>
              <a:spLocks/>
            </p:cNvSpPr>
            <p:nvPr/>
          </p:nvSpPr>
          <p:spPr bwMode="auto">
            <a:xfrm>
              <a:off x="7680326" y="6523038"/>
              <a:ext cx="30163" cy="15875"/>
            </a:xfrm>
            <a:custGeom>
              <a:avLst/>
              <a:gdLst>
                <a:gd name="T0" fmla="*/ 146 w 146"/>
                <a:gd name="T1" fmla="*/ 44 h 76"/>
                <a:gd name="T2" fmla="*/ 10 w 146"/>
                <a:gd name="T3" fmla="*/ 0 h 76"/>
                <a:gd name="T4" fmla="*/ 0 w 146"/>
                <a:gd name="T5" fmla="*/ 32 h 76"/>
                <a:gd name="T6" fmla="*/ 136 w 146"/>
                <a:gd name="T7" fmla="*/ 76 h 76"/>
              </a:gdLst>
              <a:ahLst/>
              <a:cxnLst>
                <a:cxn ang="0">
                  <a:pos x="T0" y="T1"/>
                </a:cxn>
                <a:cxn ang="0">
                  <a:pos x="T2" y="T3"/>
                </a:cxn>
                <a:cxn ang="0">
                  <a:pos x="T4" y="T5"/>
                </a:cxn>
                <a:cxn ang="0">
                  <a:pos x="T6" y="T7"/>
                </a:cxn>
              </a:cxnLst>
              <a:rect l="0" t="0" r="r" b="b"/>
              <a:pathLst>
                <a:path w="146" h="76">
                  <a:moveTo>
                    <a:pt x="146" y="44"/>
                  </a:moveTo>
                  <a:lnTo>
                    <a:pt x="10" y="0"/>
                  </a:lnTo>
                  <a:lnTo>
                    <a:pt x="0" y="32"/>
                  </a:lnTo>
                  <a:lnTo>
                    <a:pt x="136" y="7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108">
              <a:extLst>
                <a:ext uri="{FF2B5EF4-FFF2-40B4-BE49-F238E27FC236}">
                  <a16:creationId xmlns:a16="http://schemas.microsoft.com/office/drawing/2014/main" id="{5D75AD21-632E-41C1-9E5B-6DE7CADA8585}"/>
                </a:ext>
              </a:extLst>
            </p:cNvPr>
            <p:cNvSpPr>
              <a:spLocks/>
            </p:cNvSpPr>
            <p:nvPr/>
          </p:nvSpPr>
          <p:spPr bwMode="auto">
            <a:xfrm>
              <a:off x="7680326" y="6594475"/>
              <a:ext cx="30163" cy="15875"/>
            </a:xfrm>
            <a:custGeom>
              <a:avLst/>
              <a:gdLst>
                <a:gd name="T0" fmla="*/ 136 w 146"/>
                <a:gd name="T1" fmla="*/ 0 h 76"/>
                <a:gd name="T2" fmla="*/ 0 w 146"/>
                <a:gd name="T3" fmla="*/ 44 h 76"/>
                <a:gd name="T4" fmla="*/ 10 w 146"/>
                <a:gd name="T5" fmla="*/ 76 h 76"/>
                <a:gd name="T6" fmla="*/ 146 w 146"/>
                <a:gd name="T7" fmla="*/ 32 h 76"/>
              </a:gdLst>
              <a:ahLst/>
              <a:cxnLst>
                <a:cxn ang="0">
                  <a:pos x="T0" y="T1"/>
                </a:cxn>
                <a:cxn ang="0">
                  <a:pos x="T2" y="T3"/>
                </a:cxn>
                <a:cxn ang="0">
                  <a:pos x="T4" y="T5"/>
                </a:cxn>
                <a:cxn ang="0">
                  <a:pos x="T6" y="T7"/>
                </a:cxn>
              </a:cxnLst>
              <a:rect l="0" t="0" r="r" b="b"/>
              <a:pathLst>
                <a:path w="146" h="76">
                  <a:moveTo>
                    <a:pt x="136" y="0"/>
                  </a:moveTo>
                  <a:lnTo>
                    <a:pt x="0" y="44"/>
                  </a:lnTo>
                  <a:lnTo>
                    <a:pt x="10" y="76"/>
                  </a:lnTo>
                  <a:lnTo>
                    <a:pt x="146" y="3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109">
              <a:extLst>
                <a:ext uri="{FF2B5EF4-FFF2-40B4-BE49-F238E27FC236}">
                  <a16:creationId xmlns:a16="http://schemas.microsoft.com/office/drawing/2014/main" id="{A553428E-44AD-4B81-B0CF-1320D6D3EAC8}"/>
                </a:ext>
              </a:extLst>
            </p:cNvPr>
            <p:cNvSpPr>
              <a:spLocks/>
            </p:cNvSpPr>
            <p:nvPr/>
          </p:nvSpPr>
          <p:spPr bwMode="auto">
            <a:xfrm>
              <a:off x="7904163" y="6594475"/>
              <a:ext cx="30163" cy="15875"/>
            </a:xfrm>
            <a:custGeom>
              <a:avLst/>
              <a:gdLst>
                <a:gd name="T0" fmla="*/ 0 w 146"/>
                <a:gd name="T1" fmla="*/ 32 h 76"/>
                <a:gd name="T2" fmla="*/ 135 w 146"/>
                <a:gd name="T3" fmla="*/ 76 h 76"/>
                <a:gd name="T4" fmla="*/ 146 w 146"/>
                <a:gd name="T5" fmla="*/ 44 h 76"/>
                <a:gd name="T6" fmla="*/ 10 w 146"/>
                <a:gd name="T7" fmla="*/ 0 h 76"/>
              </a:gdLst>
              <a:ahLst/>
              <a:cxnLst>
                <a:cxn ang="0">
                  <a:pos x="T0" y="T1"/>
                </a:cxn>
                <a:cxn ang="0">
                  <a:pos x="T2" y="T3"/>
                </a:cxn>
                <a:cxn ang="0">
                  <a:pos x="T4" y="T5"/>
                </a:cxn>
                <a:cxn ang="0">
                  <a:pos x="T6" y="T7"/>
                </a:cxn>
              </a:cxnLst>
              <a:rect l="0" t="0" r="r" b="b"/>
              <a:pathLst>
                <a:path w="146" h="76">
                  <a:moveTo>
                    <a:pt x="0" y="32"/>
                  </a:moveTo>
                  <a:lnTo>
                    <a:pt x="135" y="76"/>
                  </a:lnTo>
                  <a:lnTo>
                    <a:pt x="146" y="44"/>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110">
              <a:extLst>
                <a:ext uri="{FF2B5EF4-FFF2-40B4-BE49-F238E27FC236}">
                  <a16:creationId xmlns:a16="http://schemas.microsoft.com/office/drawing/2014/main" id="{C394408D-273F-457C-BAB0-01237128AECB}"/>
                </a:ext>
              </a:extLst>
            </p:cNvPr>
            <p:cNvSpPr>
              <a:spLocks/>
            </p:cNvSpPr>
            <p:nvPr/>
          </p:nvSpPr>
          <p:spPr bwMode="auto">
            <a:xfrm>
              <a:off x="7904163" y="6523038"/>
              <a:ext cx="30163" cy="15875"/>
            </a:xfrm>
            <a:custGeom>
              <a:avLst/>
              <a:gdLst>
                <a:gd name="T0" fmla="*/ 10 w 146"/>
                <a:gd name="T1" fmla="*/ 76 h 76"/>
                <a:gd name="T2" fmla="*/ 146 w 146"/>
                <a:gd name="T3" fmla="*/ 32 h 76"/>
                <a:gd name="T4" fmla="*/ 135 w 146"/>
                <a:gd name="T5" fmla="*/ 0 h 76"/>
                <a:gd name="T6" fmla="*/ 0 w 146"/>
                <a:gd name="T7" fmla="*/ 44 h 76"/>
              </a:gdLst>
              <a:ahLst/>
              <a:cxnLst>
                <a:cxn ang="0">
                  <a:pos x="T0" y="T1"/>
                </a:cxn>
                <a:cxn ang="0">
                  <a:pos x="T2" y="T3"/>
                </a:cxn>
                <a:cxn ang="0">
                  <a:pos x="T4" y="T5"/>
                </a:cxn>
                <a:cxn ang="0">
                  <a:pos x="T6" y="T7"/>
                </a:cxn>
              </a:cxnLst>
              <a:rect l="0" t="0" r="r" b="b"/>
              <a:pathLst>
                <a:path w="146" h="76">
                  <a:moveTo>
                    <a:pt x="10" y="76"/>
                  </a:moveTo>
                  <a:lnTo>
                    <a:pt x="146" y="32"/>
                  </a:lnTo>
                  <a:lnTo>
                    <a:pt x="135" y="0"/>
                  </a:lnTo>
                  <a:lnTo>
                    <a:pt x="0" y="4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11">
              <a:extLst>
                <a:ext uri="{FF2B5EF4-FFF2-40B4-BE49-F238E27FC236}">
                  <a16:creationId xmlns:a16="http://schemas.microsoft.com/office/drawing/2014/main" id="{2F5B3C7B-A1D3-4F28-86F2-4191502D90B9}"/>
                </a:ext>
              </a:extLst>
            </p:cNvPr>
            <p:cNvSpPr>
              <a:spLocks/>
            </p:cNvSpPr>
            <p:nvPr/>
          </p:nvSpPr>
          <p:spPr bwMode="auto">
            <a:xfrm>
              <a:off x="7864476" y="6457950"/>
              <a:ext cx="23813" cy="28575"/>
            </a:xfrm>
            <a:custGeom>
              <a:avLst/>
              <a:gdLst>
                <a:gd name="T0" fmla="*/ 27 w 111"/>
                <a:gd name="T1" fmla="*/ 135 h 135"/>
                <a:gd name="T2" fmla="*/ 111 w 111"/>
                <a:gd name="T3" fmla="*/ 20 h 135"/>
                <a:gd name="T4" fmla="*/ 84 w 111"/>
                <a:gd name="T5" fmla="*/ 0 h 135"/>
                <a:gd name="T6" fmla="*/ 0 w 111"/>
                <a:gd name="T7" fmla="*/ 116 h 135"/>
              </a:gdLst>
              <a:ahLst/>
              <a:cxnLst>
                <a:cxn ang="0">
                  <a:pos x="T0" y="T1"/>
                </a:cxn>
                <a:cxn ang="0">
                  <a:pos x="T2" y="T3"/>
                </a:cxn>
                <a:cxn ang="0">
                  <a:pos x="T4" y="T5"/>
                </a:cxn>
                <a:cxn ang="0">
                  <a:pos x="T6" y="T7"/>
                </a:cxn>
              </a:cxnLst>
              <a:rect l="0" t="0" r="r" b="b"/>
              <a:pathLst>
                <a:path w="111" h="135">
                  <a:moveTo>
                    <a:pt x="27" y="135"/>
                  </a:moveTo>
                  <a:lnTo>
                    <a:pt x="111" y="20"/>
                  </a:lnTo>
                  <a:lnTo>
                    <a:pt x="84" y="0"/>
                  </a:lnTo>
                  <a:lnTo>
                    <a:pt x="0" y="11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Rectangle 112">
              <a:extLst>
                <a:ext uri="{FF2B5EF4-FFF2-40B4-BE49-F238E27FC236}">
                  <a16:creationId xmlns:a16="http://schemas.microsoft.com/office/drawing/2014/main" id="{EE3BBC5A-800A-4A6C-8E47-78C79336ABF6}"/>
                </a:ext>
              </a:extLst>
            </p:cNvPr>
            <p:cNvSpPr>
              <a:spLocks noChangeArrowheads="1"/>
            </p:cNvSpPr>
            <p:nvPr/>
          </p:nvSpPr>
          <p:spPr bwMode="auto">
            <a:xfrm>
              <a:off x="7764463" y="6677025"/>
              <a:ext cx="87313"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8349" y="1144297"/>
            <a:ext cx="2683154" cy="2088057"/>
          </a:xfrm>
          <a:prstGeom prst="rect">
            <a:avLst/>
          </a:prstGeom>
          <a:ln w="88900" cap="sq" cmpd="thickThin">
            <a:solidFill>
              <a:srgbClr val="000000"/>
            </a:solidFill>
            <a:prstDash val="solid"/>
            <a:miter lim="800000"/>
          </a:ln>
          <a:effectLst>
            <a:innerShdw blurRad="76200">
              <a:srgbClr val="000000"/>
            </a:innerShdw>
          </a:effectLst>
        </p:spPr>
      </p:pic>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43107" y="1144297"/>
            <a:ext cx="3509339" cy="2088057"/>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43528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nvGraphicFramePr>
        <p:xfrm>
          <a:off x="38102" y="1176534"/>
          <a:ext cx="5073728" cy="3111528"/>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p:cNvSpPr txBox="1"/>
          <p:nvPr/>
        </p:nvSpPr>
        <p:spPr>
          <a:xfrm>
            <a:off x="170292" y="1316088"/>
            <a:ext cx="7476067" cy="3354765"/>
          </a:xfrm>
          <a:prstGeom prst="rect">
            <a:avLst/>
          </a:prstGeom>
          <a:noFill/>
        </p:spPr>
        <p:txBody>
          <a:bodyPr wrap="square" rtlCol="0">
            <a:spAutoFit/>
          </a:bodyPr>
          <a:lstStyle/>
          <a:p>
            <a:pPr marL="342900" lvl="0" indent="-342900" algn="just">
              <a:spcBef>
                <a:spcPts val="600"/>
              </a:spcBef>
              <a:spcAft>
                <a:spcPts val="600"/>
              </a:spcAft>
              <a:buFontTx/>
              <a:buChar char="-"/>
              <a:defRPr/>
            </a:pPr>
            <a:r>
              <a:rPr lang="en-US" sz="1900" b="1" dirty="0" err="1">
                <a:solidFill>
                  <a:srgbClr val="0070C0"/>
                </a:solidFill>
                <a:latin typeface="Times New Roman" panose="02020603050405020304" pitchFamily="18" charset="0"/>
                <a:ea typeface="Calibri" panose="020F0502020204030204" pitchFamily="34" charset="0"/>
              </a:rPr>
              <a:t>Giá</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rị</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ốt</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lõi</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ro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Vă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hóa</a:t>
            </a:r>
            <a:r>
              <a:rPr lang="en-US" sz="1900" b="1" dirty="0">
                <a:solidFill>
                  <a:srgbClr val="0070C0"/>
                </a:solidFill>
                <a:latin typeface="Times New Roman" panose="02020603050405020304" pitchFamily="18" charset="0"/>
                <a:ea typeface="Calibri" panose="020F0502020204030204" pitchFamily="34" charset="0"/>
              </a:rPr>
              <a:t> EVN </a:t>
            </a:r>
            <a:r>
              <a:rPr lang="en-US" sz="1900" b="1" dirty="0" err="1">
                <a:solidFill>
                  <a:srgbClr val="0070C0"/>
                </a:solidFill>
                <a:latin typeface="Times New Roman" panose="02020603050405020304" pitchFamily="18" charset="0"/>
                <a:ea typeface="Calibri" panose="020F0502020204030204" pitchFamily="34" charset="0"/>
              </a:rPr>
              <a:t>đã</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ược</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khẳ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ị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đó</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là</a:t>
            </a:r>
            <a:r>
              <a:rPr lang="en-US" sz="1900" b="1" dirty="0">
                <a:solidFill>
                  <a:srgbClr val="0070C0"/>
                </a:solidFill>
                <a:latin typeface="Times New Roman" panose="02020603050405020304" pitchFamily="18" charset="0"/>
                <a:ea typeface="Calibri" panose="020F0502020204030204" pitchFamily="34" charset="0"/>
              </a:rPr>
              <a:t>:</a:t>
            </a:r>
          </a:p>
          <a:p>
            <a:pPr marL="342900" lvl="0" indent="-342900" algn="just">
              <a:spcBef>
                <a:spcPts val="600"/>
              </a:spcBef>
              <a:spcAft>
                <a:spcPts val="600"/>
              </a:spcAft>
              <a:buFontTx/>
              <a:buChar char="-"/>
              <a:defRPr/>
            </a:pPr>
            <a:endParaRPr lang="en-US" sz="19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endParaRPr lang="en-US" sz="19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endParaRPr lang="en-US" sz="19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endParaRPr lang="en-US" sz="19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endParaRPr lang="en-US" sz="19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600"/>
              </a:spcBef>
              <a:spcAft>
                <a:spcPts val="600"/>
              </a:spcAft>
              <a:buFontTx/>
              <a:buChar char="-"/>
              <a:defRPr/>
            </a:pPr>
            <a:r>
              <a:rPr lang="en-US" sz="1900" b="1" dirty="0" err="1">
                <a:solidFill>
                  <a:srgbClr val="0070C0"/>
                </a:solidFill>
                <a:latin typeface="Times New Roman" panose="02020603050405020304" pitchFamily="18" charset="0"/>
                <a:ea typeface="Calibri" panose="020F0502020204030204" pitchFamily="34" charset="0"/>
              </a:rPr>
              <a:t>Nhữ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nội</a:t>
            </a:r>
            <a:r>
              <a:rPr lang="en-US" sz="1900" b="1" dirty="0">
                <a:solidFill>
                  <a:srgbClr val="0070C0"/>
                </a:solidFill>
                <a:latin typeface="Times New Roman" panose="02020603050405020304" pitchFamily="18" charset="0"/>
                <a:ea typeface="Calibri" panose="020F0502020204030204" pitchFamily="34" charset="0"/>
              </a:rPr>
              <a:t> dung </a:t>
            </a:r>
            <a:r>
              <a:rPr lang="en-US" sz="1900" b="1" dirty="0" err="1">
                <a:solidFill>
                  <a:srgbClr val="0070C0"/>
                </a:solidFill>
                <a:latin typeface="Times New Roman" panose="02020603050405020304" pitchFamily="18" charset="0"/>
                <a:ea typeface="Calibri" panose="020F0502020204030204" pitchFamily="34" charset="0"/>
              </a:rPr>
              <a:t>trê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ũ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hính</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là</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tầm</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nhìn</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của</a:t>
            </a:r>
            <a:r>
              <a:rPr lang="en-US" sz="1900" b="1" dirty="0">
                <a:solidFill>
                  <a:srgbClr val="0070C0"/>
                </a:solidFill>
                <a:latin typeface="Times New Roman" panose="02020603050405020304" pitchFamily="18" charset="0"/>
                <a:ea typeface="Calibri" panose="020F0502020204030204" pitchFamily="34" charset="0"/>
              </a:rPr>
              <a:t> EVN </a:t>
            </a:r>
            <a:r>
              <a:rPr lang="en-US" sz="1900" b="1" dirty="0" err="1">
                <a:solidFill>
                  <a:srgbClr val="0070C0"/>
                </a:solidFill>
                <a:latin typeface="Times New Roman" panose="02020603050405020304" pitchFamily="18" charset="0"/>
                <a:ea typeface="Calibri" panose="020F0502020204030204" pitchFamily="34" charset="0"/>
              </a:rPr>
              <a:t>về</a:t>
            </a:r>
            <a:r>
              <a:rPr lang="en-US" sz="1900" b="1" dirty="0">
                <a:solidFill>
                  <a:srgbClr val="0070C0"/>
                </a:solidFill>
                <a:latin typeface="Times New Roman" panose="02020603050405020304" pitchFamily="18" charset="0"/>
                <a:ea typeface="Calibri" panose="020F0502020204030204" pitchFamily="34" charset="0"/>
              </a:rPr>
              <a:t> Bình </a:t>
            </a:r>
            <a:r>
              <a:rPr lang="en-US" sz="1900" b="1" dirty="0" err="1">
                <a:solidFill>
                  <a:srgbClr val="0070C0"/>
                </a:solidFill>
                <a:latin typeface="Times New Roman" panose="02020603050405020304" pitchFamily="18" charset="0"/>
                <a:ea typeface="Calibri" panose="020F0502020204030204" pitchFamily="34" charset="0"/>
              </a:rPr>
              <a:t>Đẳng</a:t>
            </a:r>
            <a:r>
              <a:rPr lang="en-US" sz="1900" b="1" dirty="0">
                <a:solidFill>
                  <a:srgbClr val="0070C0"/>
                </a:solidFill>
                <a:latin typeface="Times New Roman" panose="02020603050405020304" pitchFamily="18" charset="0"/>
                <a:ea typeface="Calibri" panose="020F0502020204030204" pitchFamily="34" charset="0"/>
              </a:rPr>
              <a:t> </a:t>
            </a:r>
            <a:r>
              <a:rPr lang="en-US" sz="1900" b="1" dirty="0" err="1">
                <a:solidFill>
                  <a:srgbClr val="0070C0"/>
                </a:solidFill>
                <a:latin typeface="Times New Roman" panose="02020603050405020304" pitchFamily="18" charset="0"/>
                <a:ea typeface="Calibri" panose="020F0502020204030204" pitchFamily="34" charset="0"/>
              </a:rPr>
              <a:t>Giới</a:t>
            </a:r>
            <a:endParaRPr lang="en-US" sz="1900" b="1" dirty="0">
              <a:solidFill>
                <a:srgbClr val="0070C0"/>
              </a:solidFill>
              <a:latin typeface="Times New Roman" panose="02020603050405020304" pitchFamily="18" charset="0"/>
              <a:ea typeface="Calibri" panose="020F0502020204030204" pitchFamily="34" charset="0"/>
            </a:endParaRPr>
          </a:p>
        </p:txBody>
      </p:sp>
      <p:pic>
        <p:nvPicPr>
          <p:cNvPr id="28"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39" name="Rectangle 3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0" name="Rectangle 3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1" name="Rectangle 4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2" name="Rectangle 4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3" name="Rectangle 4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4" name="Rectangle 4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45" name="Rectangle 44">
            <a:extLst>
              <a:ext uri="{FF2B5EF4-FFF2-40B4-BE49-F238E27FC236}">
                <a16:creationId xmlns:a16="http://schemas.microsoft.com/office/drawing/2014/main" id="{35358BDE-83F7-4C78-A87B-2285BC2699DC}"/>
              </a:ext>
            </a:extLst>
          </p:cNvPr>
          <p:cNvSpPr/>
          <p:nvPr/>
        </p:nvSpPr>
        <p:spPr>
          <a:xfrm>
            <a:off x="0" y="422974"/>
            <a:ext cx="12191999" cy="5539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lang="en-US" sz="3000" b="1" dirty="0">
                <a:solidFill>
                  <a:srgbClr val="164397"/>
                </a:solidFill>
                <a:latin typeface="HelveticaBlackVU" panose="00000900000000000000" pitchFamily="2" charset="0"/>
              </a:rPr>
              <a:t>TẦM NHÌN CỦA EVN VỀ BÌNH ĐẲNG GIỚI</a:t>
            </a:r>
            <a:endPar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endParaRPr>
          </a:p>
        </p:txBody>
      </p:sp>
      <p:sp>
        <p:nvSpPr>
          <p:cNvPr id="23" name="Round Same Side Corner Rectangle 12">
            <a:extLst>
              <a:ext uri="{FF2B5EF4-FFF2-40B4-BE49-F238E27FC236}">
                <a16:creationId xmlns:a16="http://schemas.microsoft.com/office/drawing/2014/main" id="{A9766F84-D16D-AFEE-07FD-2ED412CA2459}"/>
              </a:ext>
            </a:extLst>
          </p:cNvPr>
          <p:cNvSpPr/>
          <p:nvPr/>
        </p:nvSpPr>
        <p:spPr>
          <a:xfrm flipH="1" flipV="1">
            <a:off x="2116990" y="925373"/>
            <a:ext cx="250907" cy="284444"/>
          </a:xfrm>
          <a:custGeom>
            <a:avLst/>
            <a:gdLst/>
            <a:ahLst/>
            <a:cxnLst/>
            <a:rect l="l" t="t" r="r" b="b"/>
            <a:pathLst>
              <a:path w="3891831" h="3922089">
                <a:moveTo>
                  <a:pt x="1662674" y="3168351"/>
                </a:moveTo>
                <a:lnTo>
                  <a:pt x="1502829" y="3373344"/>
                </a:lnTo>
                <a:lnTo>
                  <a:pt x="2417229" y="3373344"/>
                </a:lnTo>
                <a:lnTo>
                  <a:pt x="2257384" y="3168351"/>
                </a:lnTo>
                <a:close/>
                <a:moveTo>
                  <a:pt x="2523259" y="1171504"/>
                </a:moveTo>
                <a:cubicBezTo>
                  <a:pt x="2532472" y="1171504"/>
                  <a:pt x="2541686" y="1175018"/>
                  <a:pt x="2548715" y="1182047"/>
                </a:cubicBezTo>
                <a:cubicBezTo>
                  <a:pt x="2562774" y="1196106"/>
                  <a:pt x="2562774" y="1218900"/>
                  <a:pt x="2548715" y="1232959"/>
                </a:cubicBezTo>
                <a:lnTo>
                  <a:pt x="2192302" y="1589372"/>
                </a:lnTo>
                <a:cubicBezTo>
                  <a:pt x="2215318" y="1634545"/>
                  <a:pt x="2208007" y="1691005"/>
                  <a:pt x="2170778" y="1729629"/>
                </a:cubicBezTo>
                <a:lnTo>
                  <a:pt x="1842194" y="2070527"/>
                </a:lnTo>
                <a:lnTo>
                  <a:pt x="1840602" y="2068993"/>
                </a:lnTo>
                <a:lnTo>
                  <a:pt x="1839683" y="2070526"/>
                </a:lnTo>
                <a:lnTo>
                  <a:pt x="1772706" y="2003549"/>
                </a:lnTo>
                <a:lnTo>
                  <a:pt x="1671997" y="1906478"/>
                </a:lnTo>
                <a:lnTo>
                  <a:pt x="1671997" y="2304256"/>
                </a:lnTo>
                <a:lnTo>
                  <a:pt x="519869" y="2304256"/>
                </a:lnTo>
                <a:lnTo>
                  <a:pt x="519869" y="1555463"/>
                </a:lnTo>
                <a:cubicBezTo>
                  <a:pt x="519869" y="1430811"/>
                  <a:pt x="620920" y="1329760"/>
                  <a:pt x="745572" y="1329760"/>
                </a:cubicBezTo>
                <a:lnTo>
                  <a:pt x="887110" y="1329760"/>
                </a:lnTo>
                <a:lnTo>
                  <a:pt x="1095933" y="1689800"/>
                </a:lnTo>
                <a:lnTo>
                  <a:pt x="1304756" y="1329760"/>
                </a:lnTo>
                <a:lnTo>
                  <a:pt x="1446294" y="1329760"/>
                </a:lnTo>
                <a:cubicBezTo>
                  <a:pt x="1483655" y="1329760"/>
                  <a:pt x="1518895" y="1338838"/>
                  <a:pt x="1549463" y="1355810"/>
                </a:cubicBezTo>
                <a:lnTo>
                  <a:pt x="1551429" y="1352534"/>
                </a:lnTo>
                <a:lnTo>
                  <a:pt x="1560928" y="1362033"/>
                </a:lnTo>
                <a:cubicBezTo>
                  <a:pt x="1593912" y="1380586"/>
                  <a:pt x="1621171" y="1407846"/>
                  <a:pt x="1639724" y="1440829"/>
                </a:cubicBezTo>
                <a:lnTo>
                  <a:pt x="1875719" y="1676823"/>
                </a:lnTo>
                <a:lnTo>
                  <a:pt x="1991438" y="1556767"/>
                </a:lnTo>
                <a:cubicBezTo>
                  <a:pt x="2032038" y="1514646"/>
                  <a:pt x="2095142" y="1507302"/>
                  <a:pt x="2142374" y="1537477"/>
                </a:cubicBezTo>
                <a:lnTo>
                  <a:pt x="2497803" y="1182047"/>
                </a:lnTo>
                <a:cubicBezTo>
                  <a:pt x="2504833" y="1175018"/>
                  <a:pt x="2514046" y="1171504"/>
                  <a:pt x="2523259" y="1171504"/>
                </a:cubicBezTo>
                <a:close/>
                <a:moveTo>
                  <a:pt x="3270424" y="602451"/>
                </a:moveTo>
                <a:cubicBezTo>
                  <a:pt x="3365959" y="700507"/>
                  <a:pt x="3424268" y="834597"/>
                  <a:pt x="3424268" y="982306"/>
                </a:cubicBezTo>
                <a:lnTo>
                  <a:pt x="2890568" y="982307"/>
                </a:lnTo>
                <a:close/>
                <a:moveTo>
                  <a:pt x="1095932" y="477151"/>
                </a:moveTo>
                <a:cubicBezTo>
                  <a:pt x="1287178" y="477151"/>
                  <a:pt x="1442214" y="632187"/>
                  <a:pt x="1442214" y="823433"/>
                </a:cubicBezTo>
                <a:cubicBezTo>
                  <a:pt x="1442214" y="1014679"/>
                  <a:pt x="1287178" y="1169715"/>
                  <a:pt x="1095932" y="1169715"/>
                </a:cubicBezTo>
                <a:cubicBezTo>
                  <a:pt x="904686" y="1169715"/>
                  <a:pt x="749650" y="1014679"/>
                  <a:pt x="749650" y="823433"/>
                </a:cubicBezTo>
                <a:cubicBezTo>
                  <a:pt x="749650" y="632187"/>
                  <a:pt x="904686" y="477151"/>
                  <a:pt x="1095932" y="477151"/>
                </a:cubicBezTo>
                <a:close/>
                <a:moveTo>
                  <a:pt x="2797293" y="477150"/>
                </a:moveTo>
                <a:cubicBezTo>
                  <a:pt x="2797293" y="660228"/>
                  <a:pt x="2797294" y="843306"/>
                  <a:pt x="2797294" y="1026384"/>
                </a:cubicBezTo>
                <a:lnTo>
                  <a:pt x="3346527" y="1026384"/>
                </a:lnTo>
                <a:cubicBezTo>
                  <a:pt x="3346527" y="1329718"/>
                  <a:pt x="3100627" y="1575618"/>
                  <a:pt x="2797293" y="1575618"/>
                </a:cubicBezTo>
                <a:cubicBezTo>
                  <a:pt x="2647814" y="1575618"/>
                  <a:pt x="2512282" y="1515904"/>
                  <a:pt x="2413635" y="1418636"/>
                </a:cubicBezTo>
                <a:lnTo>
                  <a:pt x="2585415" y="1246856"/>
                </a:lnTo>
                <a:cubicBezTo>
                  <a:pt x="2612360" y="1219912"/>
                  <a:pt x="2612360" y="1176226"/>
                  <a:pt x="2585415" y="1149281"/>
                </a:cubicBezTo>
                <a:cubicBezTo>
                  <a:pt x="2558471" y="1122337"/>
                  <a:pt x="2514785" y="1122337"/>
                  <a:pt x="2487840" y="1149281"/>
                </a:cubicBezTo>
                <a:lnTo>
                  <a:pt x="2328419" y="1308703"/>
                </a:lnTo>
                <a:cubicBezTo>
                  <a:pt x="2276781" y="1227012"/>
                  <a:pt x="2248059" y="1130052"/>
                  <a:pt x="2248059" y="1026384"/>
                </a:cubicBezTo>
                <a:cubicBezTo>
                  <a:pt x="2248059" y="723050"/>
                  <a:pt x="2493959" y="477150"/>
                  <a:pt x="2797293" y="477150"/>
                </a:cubicBezTo>
                <a:close/>
                <a:moveTo>
                  <a:pt x="2842770" y="361048"/>
                </a:moveTo>
                <a:cubicBezTo>
                  <a:pt x="2979660" y="362831"/>
                  <a:pt x="3115706" y="416416"/>
                  <a:pt x="3220152" y="520862"/>
                </a:cubicBezTo>
                <a:lnTo>
                  <a:pt x="2842770" y="898246"/>
                </a:lnTo>
                <a:close/>
                <a:moveTo>
                  <a:pt x="745283" y="252264"/>
                </a:moveTo>
                <a:cubicBezTo>
                  <a:pt x="540043" y="252264"/>
                  <a:pt x="373664" y="418643"/>
                  <a:pt x="373664" y="623883"/>
                </a:cubicBezTo>
                <a:lnTo>
                  <a:pt x="373664" y="2481932"/>
                </a:lnTo>
                <a:lnTo>
                  <a:pt x="3505664" y="2481932"/>
                </a:lnTo>
                <a:lnTo>
                  <a:pt x="3505664" y="623883"/>
                </a:lnTo>
                <a:cubicBezTo>
                  <a:pt x="3505664" y="418643"/>
                  <a:pt x="3339285" y="252264"/>
                  <a:pt x="3134045" y="252264"/>
                </a:cubicBezTo>
                <a:close/>
                <a:moveTo>
                  <a:pt x="561239" y="0"/>
                </a:moveTo>
                <a:lnTo>
                  <a:pt x="3333911" y="0"/>
                </a:lnTo>
                <a:cubicBezTo>
                  <a:pt x="3562371" y="0"/>
                  <a:pt x="3747575" y="185204"/>
                  <a:pt x="3747575" y="413664"/>
                </a:cubicBezTo>
                <a:lnTo>
                  <a:pt x="3747575" y="2481932"/>
                </a:lnTo>
                <a:lnTo>
                  <a:pt x="3751166" y="2481932"/>
                </a:lnTo>
                <a:lnTo>
                  <a:pt x="3891831" y="3528390"/>
                </a:lnTo>
                <a:lnTo>
                  <a:pt x="3891831" y="3528390"/>
                </a:lnTo>
                <a:lnTo>
                  <a:pt x="3891831" y="3528392"/>
                </a:lnTo>
                <a:lnTo>
                  <a:pt x="3891831" y="3725239"/>
                </a:lnTo>
                <a:cubicBezTo>
                  <a:pt x="3891831" y="3833956"/>
                  <a:pt x="3803698" y="3922089"/>
                  <a:pt x="3694981" y="3922089"/>
                </a:cubicBezTo>
                <a:lnTo>
                  <a:pt x="196850" y="3922089"/>
                </a:lnTo>
                <a:cubicBezTo>
                  <a:pt x="88133" y="3922089"/>
                  <a:pt x="0" y="3833956"/>
                  <a:pt x="0" y="3725239"/>
                </a:cubicBezTo>
                <a:cubicBezTo>
                  <a:pt x="0" y="3659623"/>
                  <a:pt x="1" y="3594006"/>
                  <a:pt x="1" y="3528390"/>
                </a:cubicBezTo>
                <a:lnTo>
                  <a:pt x="3399" y="3528390"/>
                </a:lnTo>
                <a:lnTo>
                  <a:pt x="144064" y="2481932"/>
                </a:lnTo>
                <a:lnTo>
                  <a:pt x="147575" y="2481932"/>
                </a:lnTo>
                <a:lnTo>
                  <a:pt x="147575" y="413664"/>
                </a:lnTo>
                <a:cubicBezTo>
                  <a:pt x="147575" y="185204"/>
                  <a:pt x="332779" y="0"/>
                  <a:pt x="5612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맑은 고딕" panose="020B0503020000020004" pitchFamily="34" charset="-127"/>
              <a:cs typeface="+mn-cs"/>
            </a:endParaRPr>
          </a:p>
        </p:txBody>
      </p:sp>
      <p:sp>
        <p:nvSpPr>
          <p:cNvPr id="2" name="Rectangle 1"/>
          <p:cNvSpPr/>
          <p:nvPr/>
        </p:nvSpPr>
        <p:spPr>
          <a:xfrm>
            <a:off x="4545638" y="1900863"/>
            <a:ext cx="3100721" cy="1785104"/>
          </a:xfrm>
          <a:prstGeom prst="rect">
            <a:avLst/>
          </a:prstGeom>
        </p:spPr>
        <p:txBody>
          <a:bodyPr wrap="none">
            <a:spAutoFit/>
          </a:bodyPr>
          <a:lstStyle/>
          <a:p>
            <a:pPr marL="285750" indent="-285750">
              <a:spcBef>
                <a:spcPts val="600"/>
              </a:spcBef>
              <a:spcAft>
                <a:spcPts val="600"/>
              </a:spcAft>
              <a:buFont typeface="Wingdings" panose="05000000000000000000" pitchFamily="2" charset="2"/>
              <a:buChar char="v"/>
            </a:pPr>
            <a:r>
              <a:rPr lang="en-US" sz="2000" b="1" i="1" dirty="0" err="1">
                <a:solidFill>
                  <a:srgbClr val="00B0F0"/>
                </a:solidFill>
                <a:latin typeface="Times New Roman" panose="02020603050405020304" pitchFamily="18" charset="0"/>
                <a:ea typeface="Calibri" panose="020F0502020204030204" pitchFamily="34" charset="0"/>
              </a:rPr>
              <a:t>Chất</a:t>
            </a:r>
            <a:r>
              <a:rPr lang="en-US" sz="2000" b="1" i="1" dirty="0">
                <a:solidFill>
                  <a:srgbClr val="00B0F0"/>
                </a:solidFill>
                <a:latin typeface="Times New Roman" panose="02020603050405020304" pitchFamily="18" charset="0"/>
                <a:ea typeface="Calibri" panose="020F0502020204030204" pitchFamily="34" charset="0"/>
              </a:rPr>
              <a:t> </a:t>
            </a:r>
            <a:r>
              <a:rPr lang="en-US" sz="2000" b="1" i="1" dirty="0" err="1">
                <a:solidFill>
                  <a:srgbClr val="00B0F0"/>
                </a:solidFill>
                <a:latin typeface="Times New Roman" panose="02020603050405020304" pitchFamily="18" charset="0"/>
                <a:ea typeface="Calibri" panose="020F0502020204030204" pitchFamily="34" charset="0"/>
              </a:rPr>
              <a:t>lượng</a:t>
            </a:r>
            <a:r>
              <a:rPr lang="en-US" sz="2000" b="1" i="1" dirty="0">
                <a:solidFill>
                  <a:srgbClr val="00B0F0"/>
                </a:solidFill>
                <a:latin typeface="Times New Roman" panose="02020603050405020304" pitchFamily="18" charset="0"/>
                <a:ea typeface="Calibri" panose="020F0502020204030204" pitchFamily="34" charset="0"/>
              </a:rPr>
              <a:t> – </a:t>
            </a:r>
            <a:r>
              <a:rPr lang="en-US" sz="2000" b="1" i="1" dirty="0" err="1">
                <a:solidFill>
                  <a:srgbClr val="00B0F0"/>
                </a:solidFill>
                <a:latin typeface="Times New Roman" panose="02020603050405020304" pitchFamily="18" charset="0"/>
                <a:ea typeface="Calibri" panose="020F0502020204030204" pitchFamily="34" charset="0"/>
              </a:rPr>
              <a:t>Tín</a:t>
            </a:r>
            <a:r>
              <a:rPr lang="en-US" sz="2000" b="1" i="1" dirty="0">
                <a:solidFill>
                  <a:srgbClr val="00B0F0"/>
                </a:solidFill>
                <a:latin typeface="Times New Roman" panose="02020603050405020304" pitchFamily="18" charset="0"/>
                <a:ea typeface="Calibri" panose="020F0502020204030204" pitchFamily="34" charset="0"/>
              </a:rPr>
              <a:t> </a:t>
            </a:r>
            <a:r>
              <a:rPr lang="en-US" sz="2000" b="1" i="1" dirty="0" err="1">
                <a:solidFill>
                  <a:srgbClr val="00B0F0"/>
                </a:solidFill>
                <a:latin typeface="Times New Roman" panose="02020603050405020304" pitchFamily="18" charset="0"/>
                <a:ea typeface="Calibri" panose="020F0502020204030204" pitchFamily="34" charset="0"/>
              </a:rPr>
              <a:t>nhiệm</a:t>
            </a:r>
            <a:endParaRPr lang="en-US" sz="2000" b="1" i="1" dirty="0">
              <a:solidFill>
                <a:srgbClr val="00B0F0"/>
              </a:solidFill>
              <a:latin typeface="Times New Roman" panose="02020603050405020304" pitchFamily="18" charset="0"/>
              <a:ea typeface="Calibri" panose="020F0502020204030204" pitchFamily="34" charset="0"/>
            </a:endParaRPr>
          </a:p>
          <a:p>
            <a:pPr marL="285750" indent="-285750">
              <a:spcBef>
                <a:spcPts val="600"/>
              </a:spcBef>
              <a:spcAft>
                <a:spcPts val="600"/>
              </a:spcAft>
              <a:buFont typeface="Wingdings" panose="05000000000000000000" pitchFamily="2" charset="2"/>
              <a:buChar char="v"/>
            </a:pPr>
            <a:r>
              <a:rPr lang="en-US" sz="2000" b="1" i="1" dirty="0" err="1">
                <a:solidFill>
                  <a:srgbClr val="00B0F0"/>
                </a:solidFill>
                <a:latin typeface="Times New Roman" panose="02020603050405020304" pitchFamily="18" charset="0"/>
              </a:rPr>
              <a:t>Tận</a:t>
            </a:r>
            <a:r>
              <a:rPr lang="en-US" sz="2000" b="1" i="1" dirty="0">
                <a:solidFill>
                  <a:srgbClr val="00B0F0"/>
                </a:solidFill>
                <a:latin typeface="Times New Roman" panose="02020603050405020304" pitchFamily="18" charset="0"/>
              </a:rPr>
              <a:t> </a:t>
            </a:r>
            <a:r>
              <a:rPr lang="en-US" sz="2000" b="1" i="1" dirty="0" err="1">
                <a:solidFill>
                  <a:srgbClr val="00B0F0"/>
                </a:solidFill>
                <a:latin typeface="Times New Roman" panose="02020603050405020304" pitchFamily="18" charset="0"/>
              </a:rPr>
              <a:t>Tâm</a:t>
            </a:r>
            <a:r>
              <a:rPr lang="en-US" sz="2000" b="1" i="1" dirty="0">
                <a:solidFill>
                  <a:srgbClr val="00B0F0"/>
                </a:solidFill>
                <a:latin typeface="Times New Roman" panose="02020603050405020304" pitchFamily="18" charset="0"/>
              </a:rPr>
              <a:t> – </a:t>
            </a:r>
            <a:r>
              <a:rPr lang="en-US" sz="2000" b="1" i="1" dirty="0" err="1">
                <a:solidFill>
                  <a:srgbClr val="00B0F0"/>
                </a:solidFill>
                <a:latin typeface="Times New Roman" panose="02020603050405020304" pitchFamily="18" charset="0"/>
              </a:rPr>
              <a:t>Trí</a:t>
            </a:r>
            <a:r>
              <a:rPr lang="en-US" sz="2000" b="1" i="1" dirty="0">
                <a:solidFill>
                  <a:srgbClr val="00B0F0"/>
                </a:solidFill>
                <a:latin typeface="Times New Roman" panose="02020603050405020304" pitchFamily="18" charset="0"/>
              </a:rPr>
              <a:t> </a:t>
            </a:r>
            <a:r>
              <a:rPr lang="en-US" sz="2000" b="1" i="1" dirty="0" err="1">
                <a:solidFill>
                  <a:srgbClr val="00B0F0"/>
                </a:solidFill>
                <a:latin typeface="Times New Roman" panose="02020603050405020304" pitchFamily="18" charset="0"/>
              </a:rPr>
              <a:t>Tuệ</a:t>
            </a:r>
            <a:endParaRPr lang="en-US" sz="2000" b="1" i="1" dirty="0">
              <a:solidFill>
                <a:srgbClr val="00B0F0"/>
              </a:solidFill>
              <a:latin typeface="Times New Roman" panose="02020603050405020304" pitchFamily="18" charset="0"/>
            </a:endParaRPr>
          </a:p>
          <a:p>
            <a:pPr marL="285750" indent="-285750">
              <a:spcBef>
                <a:spcPts val="600"/>
              </a:spcBef>
              <a:spcAft>
                <a:spcPts val="600"/>
              </a:spcAft>
              <a:buFont typeface="Wingdings" panose="05000000000000000000" pitchFamily="2" charset="2"/>
              <a:buChar char="v"/>
            </a:pPr>
            <a:r>
              <a:rPr lang="en-US" sz="2000" b="1" i="1" dirty="0" err="1">
                <a:solidFill>
                  <a:srgbClr val="00B0F0"/>
                </a:solidFill>
                <a:latin typeface="Times New Roman" panose="02020603050405020304" pitchFamily="18" charset="0"/>
              </a:rPr>
              <a:t>Hợp</a:t>
            </a:r>
            <a:r>
              <a:rPr lang="en-US" sz="2000" b="1" i="1" dirty="0">
                <a:solidFill>
                  <a:srgbClr val="00B0F0"/>
                </a:solidFill>
                <a:latin typeface="Times New Roman" panose="02020603050405020304" pitchFamily="18" charset="0"/>
              </a:rPr>
              <a:t> </a:t>
            </a:r>
            <a:r>
              <a:rPr lang="en-US" sz="2000" b="1" i="1" dirty="0" err="1">
                <a:solidFill>
                  <a:srgbClr val="00B0F0"/>
                </a:solidFill>
                <a:latin typeface="Times New Roman" panose="02020603050405020304" pitchFamily="18" charset="0"/>
              </a:rPr>
              <a:t>tác</a:t>
            </a:r>
            <a:r>
              <a:rPr lang="en-US" sz="2000" b="1" i="1" dirty="0">
                <a:solidFill>
                  <a:srgbClr val="00B0F0"/>
                </a:solidFill>
                <a:latin typeface="Times New Roman" panose="02020603050405020304" pitchFamily="18" charset="0"/>
              </a:rPr>
              <a:t> – Chia </a:t>
            </a:r>
            <a:r>
              <a:rPr lang="en-US" sz="2000" b="1" i="1" dirty="0" err="1">
                <a:solidFill>
                  <a:srgbClr val="00B0F0"/>
                </a:solidFill>
                <a:latin typeface="Times New Roman" panose="02020603050405020304" pitchFamily="18" charset="0"/>
              </a:rPr>
              <a:t>Sẻ</a:t>
            </a:r>
            <a:endParaRPr lang="en-US" sz="2000" b="1" i="1" dirty="0">
              <a:solidFill>
                <a:srgbClr val="00B0F0"/>
              </a:solidFill>
              <a:latin typeface="Times New Roman" panose="02020603050405020304" pitchFamily="18" charset="0"/>
            </a:endParaRPr>
          </a:p>
          <a:p>
            <a:pPr marL="285750" indent="-285750">
              <a:spcBef>
                <a:spcPts val="600"/>
              </a:spcBef>
              <a:spcAft>
                <a:spcPts val="600"/>
              </a:spcAft>
              <a:buFont typeface="Wingdings" panose="05000000000000000000" pitchFamily="2" charset="2"/>
              <a:buChar char="v"/>
            </a:pPr>
            <a:r>
              <a:rPr lang="en-US" sz="2000" b="1" i="1" dirty="0" err="1">
                <a:solidFill>
                  <a:srgbClr val="00B0F0"/>
                </a:solidFill>
                <a:latin typeface="Times New Roman" panose="02020603050405020304" pitchFamily="18" charset="0"/>
              </a:rPr>
              <a:t>Sáng</a:t>
            </a:r>
            <a:r>
              <a:rPr lang="en-US" sz="2000" b="1" i="1" dirty="0">
                <a:solidFill>
                  <a:srgbClr val="00B0F0"/>
                </a:solidFill>
                <a:latin typeface="Times New Roman" panose="02020603050405020304" pitchFamily="18" charset="0"/>
              </a:rPr>
              <a:t> </a:t>
            </a:r>
            <a:r>
              <a:rPr lang="en-US" sz="2000" b="1" i="1" dirty="0" err="1">
                <a:solidFill>
                  <a:srgbClr val="00B0F0"/>
                </a:solidFill>
                <a:latin typeface="Times New Roman" panose="02020603050405020304" pitchFamily="18" charset="0"/>
              </a:rPr>
              <a:t>tạo</a:t>
            </a:r>
            <a:r>
              <a:rPr lang="en-US" sz="2000" b="1" i="1" dirty="0">
                <a:solidFill>
                  <a:srgbClr val="00B0F0"/>
                </a:solidFill>
                <a:latin typeface="Times New Roman" panose="02020603050405020304" pitchFamily="18" charset="0"/>
              </a:rPr>
              <a:t> – </a:t>
            </a:r>
            <a:r>
              <a:rPr lang="en-US" sz="2000" b="1" i="1" dirty="0" err="1">
                <a:solidFill>
                  <a:srgbClr val="00B0F0"/>
                </a:solidFill>
                <a:latin typeface="Times New Roman" panose="02020603050405020304" pitchFamily="18" charset="0"/>
              </a:rPr>
              <a:t>Hiệu</a:t>
            </a:r>
            <a:r>
              <a:rPr lang="en-US" sz="2000" b="1" i="1" dirty="0">
                <a:solidFill>
                  <a:srgbClr val="00B0F0"/>
                </a:solidFill>
                <a:latin typeface="Times New Roman" panose="02020603050405020304" pitchFamily="18" charset="0"/>
              </a:rPr>
              <a:t> </a:t>
            </a:r>
            <a:r>
              <a:rPr lang="en-US" sz="2000" b="1" i="1" dirty="0" err="1">
                <a:solidFill>
                  <a:srgbClr val="00B0F0"/>
                </a:solidFill>
                <a:latin typeface="Times New Roman" panose="02020603050405020304" pitchFamily="18" charset="0"/>
              </a:rPr>
              <a:t>quả</a:t>
            </a:r>
            <a:endParaRPr lang="en-US" sz="2000" i="1" dirty="0">
              <a:solidFill>
                <a:srgbClr val="00B0F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778549" y="1524222"/>
            <a:ext cx="3917993" cy="293849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3841353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p:cNvGraphicFramePr/>
          <p:nvPr/>
        </p:nvGraphicFramePr>
        <p:xfrm>
          <a:off x="38102" y="1176534"/>
          <a:ext cx="5073728" cy="3111528"/>
        </p:xfrm>
        <a:graphic>
          <a:graphicData uri="http://schemas.openxmlformats.org/drawingml/2006/chart">
            <c:chart xmlns:c="http://schemas.openxmlformats.org/drawingml/2006/chart" xmlns:r="http://schemas.openxmlformats.org/officeDocument/2006/relationships" r:id="rId2"/>
          </a:graphicData>
        </a:graphic>
      </p:graphicFrame>
      <p:pic>
        <p:nvPicPr>
          <p:cNvPr id="17"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19" name="Rectangle 18">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Rectangle 19">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 name="Rectangle 2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5" name="Rectangle 24">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6" name="Rectangle 25">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27" name="Rectangle 26">
            <a:extLst>
              <a:ext uri="{FF2B5EF4-FFF2-40B4-BE49-F238E27FC236}">
                <a16:creationId xmlns:a16="http://schemas.microsoft.com/office/drawing/2014/main" id="{35358BDE-83F7-4C78-A87B-2285BC2699DC}"/>
              </a:ext>
            </a:extLst>
          </p:cNvPr>
          <p:cNvSpPr/>
          <p:nvPr/>
        </p:nvSpPr>
        <p:spPr>
          <a:xfrm>
            <a:off x="0" y="422974"/>
            <a:ext cx="12191999" cy="5539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lang="en-US" sz="3000" b="1" dirty="0">
                <a:solidFill>
                  <a:srgbClr val="164397"/>
                </a:solidFill>
                <a:latin typeface="HelveticaBlackVU" panose="00000900000000000000" pitchFamily="2" charset="0"/>
              </a:rPr>
              <a:t>TẬN TÂM – TRÍ TUỆ</a:t>
            </a:r>
            <a:endPar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endParaRPr>
          </a:p>
        </p:txBody>
      </p:sp>
      <p:sp>
        <p:nvSpPr>
          <p:cNvPr id="29" name="Round Same Side Corner Rectangle 12">
            <a:extLst>
              <a:ext uri="{FF2B5EF4-FFF2-40B4-BE49-F238E27FC236}">
                <a16:creationId xmlns:a16="http://schemas.microsoft.com/office/drawing/2014/main" id="{A9766F84-D16D-AFEE-07FD-2ED412CA2459}"/>
              </a:ext>
            </a:extLst>
          </p:cNvPr>
          <p:cNvSpPr/>
          <p:nvPr/>
        </p:nvSpPr>
        <p:spPr>
          <a:xfrm flipH="1" flipV="1">
            <a:off x="2116990" y="925373"/>
            <a:ext cx="250907" cy="284444"/>
          </a:xfrm>
          <a:custGeom>
            <a:avLst/>
            <a:gdLst/>
            <a:ahLst/>
            <a:cxnLst/>
            <a:rect l="l" t="t" r="r" b="b"/>
            <a:pathLst>
              <a:path w="3891831" h="3922089">
                <a:moveTo>
                  <a:pt x="1662674" y="3168351"/>
                </a:moveTo>
                <a:lnTo>
                  <a:pt x="1502829" y="3373344"/>
                </a:lnTo>
                <a:lnTo>
                  <a:pt x="2417229" y="3373344"/>
                </a:lnTo>
                <a:lnTo>
                  <a:pt x="2257384" y="3168351"/>
                </a:lnTo>
                <a:close/>
                <a:moveTo>
                  <a:pt x="2523259" y="1171504"/>
                </a:moveTo>
                <a:cubicBezTo>
                  <a:pt x="2532472" y="1171504"/>
                  <a:pt x="2541686" y="1175018"/>
                  <a:pt x="2548715" y="1182047"/>
                </a:cubicBezTo>
                <a:cubicBezTo>
                  <a:pt x="2562774" y="1196106"/>
                  <a:pt x="2562774" y="1218900"/>
                  <a:pt x="2548715" y="1232959"/>
                </a:cubicBezTo>
                <a:lnTo>
                  <a:pt x="2192302" y="1589372"/>
                </a:lnTo>
                <a:cubicBezTo>
                  <a:pt x="2215318" y="1634545"/>
                  <a:pt x="2208007" y="1691005"/>
                  <a:pt x="2170778" y="1729629"/>
                </a:cubicBezTo>
                <a:lnTo>
                  <a:pt x="1842194" y="2070527"/>
                </a:lnTo>
                <a:lnTo>
                  <a:pt x="1840602" y="2068993"/>
                </a:lnTo>
                <a:lnTo>
                  <a:pt x="1839683" y="2070526"/>
                </a:lnTo>
                <a:lnTo>
                  <a:pt x="1772706" y="2003549"/>
                </a:lnTo>
                <a:lnTo>
                  <a:pt x="1671997" y="1906478"/>
                </a:lnTo>
                <a:lnTo>
                  <a:pt x="1671997" y="2304256"/>
                </a:lnTo>
                <a:lnTo>
                  <a:pt x="519869" y="2304256"/>
                </a:lnTo>
                <a:lnTo>
                  <a:pt x="519869" y="1555463"/>
                </a:lnTo>
                <a:cubicBezTo>
                  <a:pt x="519869" y="1430811"/>
                  <a:pt x="620920" y="1329760"/>
                  <a:pt x="745572" y="1329760"/>
                </a:cubicBezTo>
                <a:lnTo>
                  <a:pt x="887110" y="1329760"/>
                </a:lnTo>
                <a:lnTo>
                  <a:pt x="1095933" y="1689800"/>
                </a:lnTo>
                <a:lnTo>
                  <a:pt x="1304756" y="1329760"/>
                </a:lnTo>
                <a:lnTo>
                  <a:pt x="1446294" y="1329760"/>
                </a:lnTo>
                <a:cubicBezTo>
                  <a:pt x="1483655" y="1329760"/>
                  <a:pt x="1518895" y="1338838"/>
                  <a:pt x="1549463" y="1355810"/>
                </a:cubicBezTo>
                <a:lnTo>
                  <a:pt x="1551429" y="1352534"/>
                </a:lnTo>
                <a:lnTo>
                  <a:pt x="1560928" y="1362033"/>
                </a:lnTo>
                <a:cubicBezTo>
                  <a:pt x="1593912" y="1380586"/>
                  <a:pt x="1621171" y="1407846"/>
                  <a:pt x="1639724" y="1440829"/>
                </a:cubicBezTo>
                <a:lnTo>
                  <a:pt x="1875719" y="1676823"/>
                </a:lnTo>
                <a:lnTo>
                  <a:pt x="1991438" y="1556767"/>
                </a:lnTo>
                <a:cubicBezTo>
                  <a:pt x="2032038" y="1514646"/>
                  <a:pt x="2095142" y="1507302"/>
                  <a:pt x="2142374" y="1537477"/>
                </a:cubicBezTo>
                <a:lnTo>
                  <a:pt x="2497803" y="1182047"/>
                </a:lnTo>
                <a:cubicBezTo>
                  <a:pt x="2504833" y="1175018"/>
                  <a:pt x="2514046" y="1171504"/>
                  <a:pt x="2523259" y="1171504"/>
                </a:cubicBezTo>
                <a:close/>
                <a:moveTo>
                  <a:pt x="3270424" y="602451"/>
                </a:moveTo>
                <a:cubicBezTo>
                  <a:pt x="3365959" y="700507"/>
                  <a:pt x="3424268" y="834597"/>
                  <a:pt x="3424268" y="982306"/>
                </a:cubicBezTo>
                <a:lnTo>
                  <a:pt x="2890568" y="982307"/>
                </a:lnTo>
                <a:close/>
                <a:moveTo>
                  <a:pt x="1095932" y="477151"/>
                </a:moveTo>
                <a:cubicBezTo>
                  <a:pt x="1287178" y="477151"/>
                  <a:pt x="1442214" y="632187"/>
                  <a:pt x="1442214" y="823433"/>
                </a:cubicBezTo>
                <a:cubicBezTo>
                  <a:pt x="1442214" y="1014679"/>
                  <a:pt x="1287178" y="1169715"/>
                  <a:pt x="1095932" y="1169715"/>
                </a:cubicBezTo>
                <a:cubicBezTo>
                  <a:pt x="904686" y="1169715"/>
                  <a:pt x="749650" y="1014679"/>
                  <a:pt x="749650" y="823433"/>
                </a:cubicBezTo>
                <a:cubicBezTo>
                  <a:pt x="749650" y="632187"/>
                  <a:pt x="904686" y="477151"/>
                  <a:pt x="1095932" y="477151"/>
                </a:cubicBezTo>
                <a:close/>
                <a:moveTo>
                  <a:pt x="2797293" y="477150"/>
                </a:moveTo>
                <a:cubicBezTo>
                  <a:pt x="2797293" y="660228"/>
                  <a:pt x="2797294" y="843306"/>
                  <a:pt x="2797294" y="1026384"/>
                </a:cubicBezTo>
                <a:lnTo>
                  <a:pt x="3346527" y="1026384"/>
                </a:lnTo>
                <a:cubicBezTo>
                  <a:pt x="3346527" y="1329718"/>
                  <a:pt x="3100627" y="1575618"/>
                  <a:pt x="2797293" y="1575618"/>
                </a:cubicBezTo>
                <a:cubicBezTo>
                  <a:pt x="2647814" y="1575618"/>
                  <a:pt x="2512282" y="1515904"/>
                  <a:pt x="2413635" y="1418636"/>
                </a:cubicBezTo>
                <a:lnTo>
                  <a:pt x="2585415" y="1246856"/>
                </a:lnTo>
                <a:cubicBezTo>
                  <a:pt x="2612360" y="1219912"/>
                  <a:pt x="2612360" y="1176226"/>
                  <a:pt x="2585415" y="1149281"/>
                </a:cubicBezTo>
                <a:cubicBezTo>
                  <a:pt x="2558471" y="1122337"/>
                  <a:pt x="2514785" y="1122337"/>
                  <a:pt x="2487840" y="1149281"/>
                </a:cubicBezTo>
                <a:lnTo>
                  <a:pt x="2328419" y="1308703"/>
                </a:lnTo>
                <a:cubicBezTo>
                  <a:pt x="2276781" y="1227012"/>
                  <a:pt x="2248059" y="1130052"/>
                  <a:pt x="2248059" y="1026384"/>
                </a:cubicBezTo>
                <a:cubicBezTo>
                  <a:pt x="2248059" y="723050"/>
                  <a:pt x="2493959" y="477150"/>
                  <a:pt x="2797293" y="477150"/>
                </a:cubicBezTo>
                <a:close/>
                <a:moveTo>
                  <a:pt x="2842770" y="361048"/>
                </a:moveTo>
                <a:cubicBezTo>
                  <a:pt x="2979660" y="362831"/>
                  <a:pt x="3115706" y="416416"/>
                  <a:pt x="3220152" y="520862"/>
                </a:cubicBezTo>
                <a:lnTo>
                  <a:pt x="2842770" y="898246"/>
                </a:lnTo>
                <a:close/>
                <a:moveTo>
                  <a:pt x="745283" y="252264"/>
                </a:moveTo>
                <a:cubicBezTo>
                  <a:pt x="540043" y="252264"/>
                  <a:pt x="373664" y="418643"/>
                  <a:pt x="373664" y="623883"/>
                </a:cubicBezTo>
                <a:lnTo>
                  <a:pt x="373664" y="2481932"/>
                </a:lnTo>
                <a:lnTo>
                  <a:pt x="3505664" y="2481932"/>
                </a:lnTo>
                <a:lnTo>
                  <a:pt x="3505664" y="623883"/>
                </a:lnTo>
                <a:cubicBezTo>
                  <a:pt x="3505664" y="418643"/>
                  <a:pt x="3339285" y="252264"/>
                  <a:pt x="3134045" y="252264"/>
                </a:cubicBezTo>
                <a:close/>
                <a:moveTo>
                  <a:pt x="561239" y="0"/>
                </a:moveTo>
                <a:lnTo>
                  <a:pt x="3333911" y="0"/>
                </a:lnTo>
                <a:cubicBezTo>
                  <a:pt x="3562371" y="0"/>
                  <a:pt x="3747575" y="185204"/>
                  <a:pt x="3747575" y="413664"/>
                </a:cubicBezTo>
                <a:lnTo>
                  <a:pt x="3747575" y="2481932"/>
                </a:lnTo>
                <a:lnTo>
                  <a:pt x="3751166" y="2481932"/>
                </a:lnTo>
                <a:lnTo>
                  <a:pt x="3891831" y="3528390"/>
                </a:lnTo>
                <a:lnTo>
                  <a:pt x="3891831" y="3528390"/>
                </a:lnTo>
                <a:lnTo>
                  <a:pt x="3891831" y="3528392"/>
                </a:lnTo>
                <a:lnTo>
                  <a:pt x="3891831" y="3725239"/>
                </a:lnTo>
                <a:cubicBezTo>
                  <a:pt x="3891831" y="3833956"/>
                  <a:pt x="3803698" y="3922089"/>
                  <a:pt x="3694981" y="3922089"/>
                </a:cubicBezTo>
                <a:lnTo>
                  <a:pt x="196850" y="3922089"/>
                </a:lnTo>
                <a:cubicBezTo>
                  <a:pt x="88133" y="3922089"/>
                  <a:pt x="0" y="3833956"/>
                  <a:pt x="0" y="3725239"/>
                </a:cubicBezTo>
                <a:cubicBezTo>
                  <a:pt x="0" y="3659623"/>
                  <a:pt x="1" y="3594006"/>
                  <a:pt x="1" y="3528390"/>
                </a:cubicBezTo>
                <a:lnTo>
                  <a:pt x="3399" y="3528390"/>
                </a:lnTo>
                <a:lnTo>
                  <a:pt x="144064" y="2481932"/>
                </a:lnTo>
                <a:lnTo>
                  <a:pt x="147575" y="2481932"/>
                </a:lnTo>
                <a:lnTo>
                  <a:pt x="147575" y="413664"/>
                </a:lnTo>
                <a:cubicBezTo>
                  <a:pt x="147575" y="185204"/>
                  <a:pt x="332779" y="0"/>
                  <a:pt x="5612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맑은 고딕" panose="020B0503020000020004" pitchFamily="34" charset="-127"/>
              <a:cs typeface="+mn-cs"/>
            </a:endParaRPr>
          </a:p>
        </p:txBody>
      </p:sp>
      <p:sp>
        <p:nvSpPr>
          <p:cNvPr id="30" name="TextBox 29">
            <a:extLst>
              <a:ext uri="{FF2B5EF4-FFF2-40B4-BE49-F238E27FC236}">
                <a16:creationId xmlns:a16="http://schemas.microsoft.com/office/drawing/2014/main" id="{7B948166-1D35-404D-8B93-E8055D79B2AD}"/>
              </a:ext>
            </a:extLst>
          </p:cNvPr>
          <p:cNvSpPr txBox="1"/>
          <p:nvPr/>
        </p:nvSpPr>
        <p:spPr>
          <a:xfrm>
            <a:off x="623033" y="1189600"/>
            <a:ext cx="11006487" cy="4785926"/>
          </a:xfrm>
          <a:prstGeom prst="rect">
            <a:avLst/>
          </a:prstGeom>
          <a:noFill/>
        </p:spPr>
        <p:txBody>
          <a:bodyPr wrap="square" rtlCol="0" anchor="t">
            <a:spAutoFit/>
          </a:bodyPr>
          <a:lstStyle/>
          <a:p>
            <a:pPr marL="342900" lvl="0" indent="-342900" algn="just">
              <a:spcBef>
                <a:spcPts val="300"/>
              </a:spcBef>
              <a:spcAft>
                <a:spcPts val="300"/>
              </a:spcAft>
              <a:buFont typeface="Wingdings" panose="05000000000000000000" pitchFamily="2" charset="2"/>
              <a:buChar char="v"/>
              <a:defRPr/>
            </a:pPr>
            <a:r>
              <a:rPr lang="en-US" sz="2000" b="1" dirty="0" err="1">
                <a:solidFill>
                  <a:srgbClr val="0070C0"/>
                </a:solidFill>
                <a:latin typeface="Times New Roman" panose="02020603050405020304" pitchFamily="18" charset="0"/>
                <a:ea typeface="Calibri" panose="020F0502020204030204" pitchFamily="34" charset="0"/>
              </a:rPr>
              <a:t>Tậ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âm</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á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a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Á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á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ố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ọ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iề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ổ</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ố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iê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ả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ảo</a:t>
            </a:r>
            <a:endParaRPr lang="en-US" sz="2000" b="1" dirty="0">
              <a:solidFill>
                <a:srgbClr val="0070C0"/>
              </a:solidFill>
              <a:latin typeface="Times New Roman" panose="02020603050405020304" pitchFamily="18" charset="0"/>
              <a:ea typeface="Calibri" panose="020F0502020204030204" pitchFamily="34" charset="0"/>
            </a:endParaRPr>
          </a:p>
          <a:p>
            <a:pPr marL="800100" lvl="1" indent="-342900" algn="just">
              <a:spcBef>
                <a:spcPts val="300"/>
              </a:spcBef>
              <a:spcAft>
                <a:spcPts val="300"/>
              </a:spcAft>
              <a:buFont typeface="Arial" panose="020B0604020202020204" pitchFamily="34" charset="0"/>
              <a:buChar char="•"/>
              <a:defRPr/>
            </a:pPr>
            <a:r>
              <a:rPr lang="en-US" sz="2000" b="1" dirty="0" err="1">
                <a:solidFill>
                  <a:srgbClr val="0070C0"/>
                </a:solidFill>
                <a:latin typeface="Times New Roman" panose="02020603050405020304" pitchFamily="18" charset="0"/>
                <a:ea typeface="Calibri" panose="020F0502020204030204" pitchFamily="34" charset="0"/>
              </a:rPr>
              <a:t>Vượ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ọ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ư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ề</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â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xa</a:t>
            </a:r>
            <a:r>
              <a:rPr lang="en-US" sz="2000" b="1" dirty="0">
                <a:solidFill>
                  <a:srgbClr val="0070C0"/>
                </a:solidFill>
                <a:latin typeface="Times New Roman" panose="02020603050405020304" pitchFamily="18" charset="0"/>
                <a:ea typeface="Calibri" panose="020F0502020204030204" pitchFamily="34" charset="0"/>
              </a:rPr>
              <a:t>: </a:t>
            </a:r>
          </a:p>
          <a:p>
            <a:pPr lvl="1" algn="just">
              <a:spcBef>
                <a:spcPts val="300"/>
              </a:spcBef>
              <a:spcAft>
                <a:spcPts val="300"/>
              </a:spcAft>
              <a:defRPr/>
            </a:pPr>
            <a:r>
              <a:rPr lang="en-US" sz="2000" b="1" dirty="0" err="1">
                <a:solidFill>
                  <a:srgbClr val="0070C0"/>
                </a:solidFill>
                <a:latin typeface="Times New Roman" panose="02020603050405020304" pitchFamily="18" charset="0"/>
                <a:ea typeface="Calibri" panose="020F0502020204030204" pitchFamily="34" charset="0"/>
              </a:rPr>
              <a:t>Đ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uố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ăm</a:t>
            </a:r>
            <a:r>
              <a:rPr lang="en-US" sz="2000" b="1" dirty="0">
                <a:solidFill>
                  <a:srgbClr val="0070C0"/>
                </a:solidFill>
                <a:latin typeface="Times New Roman" panose="02020603050405020304" pitchFamily="18" charset="0"/>
                <a:ea typeface="Calibri" panose="020F0502020204030204" pitchFamily="34" charset="0"/>
              </a:rPr>
              <a:t> 2023: </a:t>
            </a:r>
            <a:r>
              <a:rPr lang="en-US" sz="2000" b="1" dirty="0" err="1">
                <a:solidFill>
                  <a:srgbClr val="0070C0"/>
                </a:solidFill>
                <a:latin typeface="Times New Roman" panose="02020603050405020304" pitchFamily="18" charset="0"/>
                <a:ea typeface="Calibri" panose="020F0502020204030204" pitchFamily="34" charset="0"/>
              </a:rPr>
              <a:t>tỷ</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â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a:solidFill>
                  <a:srgbClr val="FF0000"/>
                </a:solidFill>
                <a:latin typeface="Times New Roman" panose="02020603050405020304" pitchFamily="18" charset="0"/>
                <a:ea typeface="Calibri" panose="020F0502020204030204" pitchFamily="34" charset="0"/>
              </a:rPr>
              <a:t>99,76% </a:t>
            </a:r>
            <a:r>
              <a:rPr lang="en-US" sz="2000" b="1" dirty="0">
                <a:solidFill>
                  <a:srgbClr val="0070C0"/>
                </a:solidFill>
                <a:latin typeface="Times New Roman" panose="02020603050405020304" pitchFamily="18" charset="0"/>
                <a:ea typeface="Calibri" panose="020F0502020204030204" pitchFamily="34" charset="0"/>
              </a:rPr>
              <a:t>(</a:t>
            </a:r>
            <a:r>
              <a:rPr lang="en-US" sz="2000" b="1" dirty="0" err="1">
                <a:solidFill>
                  <a:srgbClr val="0070C0"/>
                </a:solidFill>
                <a:latin typeface="Times New Roman" panose="02020603050405020304" pitchFamily="18" charset="0"/>
                <a:ea typeface="Calibri" panose="020F0502020204030204" pitchFamily="34" charset="0"/>
              </a:rPr>
              <a:t>năm</a:t>
            </a:r>
            <a:r>
              <a:rPr lang="en-US" sz="2000" b="1" dirty="0">
                <a:solidFill>
                  <a:srgbClr val="0070C0"/>
                </a:solidFill>
                <a:latin typeface="Times New Roman" panose="02020603050405020304" pitchFamily="18" charset="0"/>
                <a:ea typeface="Calibri" panose="020F0502020204030204" pitchFamily="34" charset="0"/>
              </a:rPr>
              <a:t> 2000 </a:t>
            </a:r>
            <a:r>
              <a:rPr lang="en-US" sz="2000" b="1" dirty="0" err="1">
                <a:solidFill>
                  <a:srgbClr val="0070C0"/>
                </a:solidFill>
                <a:latin typeface="Times New Roman" panose="02020603050405020304" pitchFamily="18" charset="0"/>
                <a:ea typeface="Calibri" panose="020F0502020204030204" pitchFamily="34" charset="0"/>
              </a:rPr>
              <a:t>l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a:solidFill>
                  <a:srgbClr val="FF0000"/>
                </a:solidFill>
                <a:latin typeface="Times New Roman" panose="02020603050405020304" pitchFamily="18" charset="0"/>
                <a:ea typeface="Calibri" panose="020F0502020204030204" pitchFamily="34" charset="0"/>
              </a:rPr>
              <a:t>73,45%).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t</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c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ặ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a:solidFill>
                  <a:srgbClr val="FF0000"/>
                </a:solidFill>
                <a:latin typeface="Times New Roman" panose="02020603050405020304" pitchFamily="18" charset="0"/>
                <a:ea typeface="Calibri" panose="020F0502020204030204" pitchFamily="34" charset="0"/>
              </a:rPr>
              <a:t>4 </a:t>
            </a:r>
            <a:r>
              <a:rPr lang="en-US" sz="2000" b="1" dirty="0" err="1">
                <a:solidFill>
                  <a:srgbClr val="FF0000"/>
                </a:solidFill>
                <a:latin typeface="Times New Roman" panose="02020603050405020304" pitchFamily="18" charset="0"/>
                <a:ea typeface="Calibri" panose="020F0502020204030204" pitchFamily="34" charset="0"/>
              </a:rPr>
              <a:t>c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ắc</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Đ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â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a:solidFill>
                  <a:srgbClr val="FF0000"/>
                </a:solidFill>
                <a:latin typeface="Times New Roman" panose="02020603050405020304" pitchFamily="18" charset="0"/>
                <a:ea typeface="Calibri" panose="020F0502020204030204" pitchFamily="34" charset="0"/>
              </a:rPr>
              <a:t>11 </a:t>
            </a:r>
            <a:r>
              <a:rPr lang="en-US" sz="2000" b="1" dirty="0" err="1">
                <a:solidFill>
                  <a:srgbClr val="FF0000"/>
                </a:solidFill>
                <a:latin typeface="Times New Roman" panose="02020603050405020304" pitchFamily="18" charset="0"/>
                <a:ea typeface="Calibri" panose="020F0502020204030204" pitchFamily="34" charset="0"/>
              </a:rPr>
              <a:t>huyện</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đảo</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ổ</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ốc</a:t>
            </a:r>
            <a:endParaRPr lang="en-US" sz="20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300"/>
              </a:spcBef>
              <a:spcAft>
                <a:spcPts val="300"/>
              </a:spcAft>
              <a:buFont typeface="Wingdings" panose="05000000000000000000" pitchFamily="2" charset="2"/>
              <a:buChar char="v"/>
              <a:defRPr/>
            </a:pPr>
            <a:r>
              <a:rPr lang="en-US" sz="2000" b="1" dirty="0" err="1">
                <a:solidFill>
                  <a:srgbClr val="0070C0"/>
                </a:solidFill>
                <a:latin typeface="Times New Roman" panose="02020603050405020304" pitchFamily="18" charset="0"/>
                <a:ea typeface="Calibri" panose="020F0502020204030204" pitchFamily="34" charset="0"/>
              </a:rPr>
              <a:t>Trí</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uệ</a:t>
            </a:r>
            <a:r>
              <a:rPr lang="en-US" sz="2000" b="1" dirty="0">
                <a:solidFill>
                  <a:srgbClr val="0070C0"/>
                </a:solidFill>
                <a:latin typeface="Times New Roman" panose="02020603050405020304" pitchFamily="18" charset="0"/>
                <a:ea typeface="Calibri" panose="020F0502020204030204" pitchFamily="34" charset="0"/>
              </a:rPr>
              <a:t>:</a:t>
            </a:r>
          </a:p>
          <a:p>
            <a:pPr lvl="0" algn="just">
              <a:spcBef>
                <a:spcPts val="300"/>
              </a:spcBef>
              <a:spcAft>
                <a:spcPts val="300"/>
              </a:spcAft>
              <a:defRPr/>
            </a:pPr>
            <a:r>
              <a:rPr lang="en-US" sz="2000" b="1" dirty="0" err="1">
                <a:solidFill>
                  <a:srgbClr val="0070C0"/>
                </a:solidFill>
                <a:latin typeface="Times New Roman" panose="02020603050405020304" pitchFamily="18" charset="0"/>
                <a:ea typeface="Calibri" panose="020F0502020204030204" pitchFamily="34" charset="0"/>
              </a:rPr>
              <a:t>Trí</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u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ườ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t</a:t>
            </a:r>
            <a:r>
              <a:rPr lang="en-US" sz="2000" b="1" dirty="0">
                <a:solidFill>
                  <a:srgbClr val="0070C0"/>
                </a:solidFill>
                <a:latin typeface="Times New Roman" panose="02020603050405020304" pitchFamily="18" charset="0"/>
                <a:ea typeface="Calibri" panose="020F0502020204030204" pitchFamily="34" charset="0"/>
              </a:rPr>
              <a:t> Nam </a:t>
            </a:r>
            <a:r>
              <a:rPr lang="en-US" sz="2000" b="1" dirty="0" err="1">
                <a:solidFill>
                  <a:srgbClr val="0070C0"/>
                </a:solidFill>
                <a:latin typeface="Times New Roman" panose="02020603050405020304" pitchFamily="18" charset="0"/>
                <a:ea typeface="Calibri" panose="020F0502020204030204" pitchFamily="34" charset="0"/>
              </a:rPr>
              <a:t>kế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ợ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h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iệ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ã</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ă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a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iề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ì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ụ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ụ</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i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i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ế</a:t>
            </a:r>
            <a:r>
              <a:rPr lang="en-US" sz="2000" b="1" dirty="0">
                <a:solidFill>
                  <a:srgbClr val="0070C0"/>
                </a:solidFill>
                <a:latin typeface="Times New Roman" panose="02020603050405020304" pitchFamily="18" charset="0"/>
                <a:ea typeface="Calibri" panose="020F0502020204030204" pitchFamily="34" charset="0"/>
              </a:rPr>
              <a:t> - </a:t>
            </a:r>
            <a:r>
              <a:rPr lang="en-US" sz="2000" b="1" dirty="0" err="1">
                <a:solidFill>
                  <a:srgbClr val="0070C0"/>
                </a:solidFill>
                <a:latin typeface="Times New Roman" panose="02020603050405020304" pitchFamily="18" charset="0"/>
                <a:ea typeface="Calibri" panose="020F0502020204030204" pitchFamily="34" charset="0"/>
              </a:rPr>
              <a:t>Xã</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ộ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ấ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ước</a:t>
            </a:r>
            <a:r>
              <a:rPr lang="en-US" sz="2000" b="1" dirty="0">
                <a:solidFill>
                  <a:srgbClr val="0070C0"/>
                </a:solidFill>
                <a:latin typeface="Times New Roman" panose="02020603050405020304" pitchFamily="18" charset="0"/>
                <a:ea typeface="Calibri" panose="020F0502020204030204" pitchFamily="34" charset="0"/>
              </a:rPr>
              <a:t>.</a:t>
            </a:r>
          </a:p>
          <a:p>
            <a:pPr lvl="0" algn="just">
              <a:spcBef>
                <a:spcPts val="300"/>
              </a:spcBef>
              <a:spcAft>
                <a:spcPts val="300"/>
              </a:spcAft>
              <a:defRPr/>
            </a:pP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í</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ụ</a:t>
            </a:r>
            <a:r>
              <a:rPr lang="en-US" sz="2000" b="1" dirty="0">
                <a:solidFill>
                  <a:srgbClr val="0070C0"/>
                </a:solidFill>
                <a:latin typeface="Times New Roman" panose="02020603050405020304" pitchFamily="18" charset="0"/>
                <a:ea typeface="Calibri" panose="020F0502020204030204" pitchFamily="34" charset="0"/>
              </a:rPr>
              <a:t>: </a:t>
            </a:r>
          </a:p>
          <a:p>
            <a:pPr marL="800100" lvl="1" indent="-342900" algn="just">
              <a:spcBef>
                <a:spcPts val="300"/>
              </a:spcBef>
              <a:spcAft>
                <a:spcPts val="300"/>
              </a:spcAft>
              <a:buFont typeface="Arial" panose="020B0604020202020204" pitchFamily="34" charset="0"/>
              <a:buChar char="•"/>
              <a:defRPr/>
            </a:pP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ì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ủy</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r>
              <a:rPr lang="en-US" sz="2000" b="1" dirty="0">
                <a:solidFill>
                  <a:srgbClr val="0070C0"/>
                </a:solidFill>
                <a:latin typeface="Times New Roman" panose="02020603050405020304" pitchFamily="18" charset="0"/>
                <a:ea typeface="Calibri" panose="020F0502020204030204" pitchFamily="34" charset="0"/>
              </a:rPr>
              <a:t> Sơn La,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ườ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ây</a:t>
            </a:r>
            <a:r>
              <a:rPr lang="en-US" sz="2000" b="1" dirty="0">
                <a:solidFill>
                  <a:srgbClr val="0070C0"/>
                </a:solidFill>
                <a:latin typeface="Times New Roman" panose="02020603050405020304" pitchFamily="18" charset="0"/>
                <a:ea typeface="Calibri" panose="020F0502020204030204" pitchFamily="34" charset="0"/>
              </a:rPr>
              <a:t> 500KV</a:t>
            </a:r>
          </a:p>
          <a:p>
            <a:pPr marL="800100" lvl="1" indent="-342900" algn="just">
              <a:spcBef>
                <a:spcPts val="300"/>
              </a:spcBef>
              <a:spcAft>
                <a:spcPts val="300"/>
              </a:spcAft>
              <a:buFont typeface="Arial" panose="020B0604020202020204" pitchFamily="34" charset="0"/>
              <a:buChar char="•"/>
              <a:defRPr/>
            </a:pP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gh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ố</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dị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ụ</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iện</a:t>
            </a:r>
            <a:endParaRPr lang="en-US" sz="2000" b="1" dirty="0">
              <a:solidFill>
                <a:srgbClr val="0070C0"/>
              </a:solidFill>
              <a:latin typeface="Times New Roman" panose="02020603050405020304" pitchFamily="18" charset="0"/>
              <a:ea typeface="Calibri" panose="020F0502020204030204" pitchFamily="34" charset="0"/>
            </a:endParaRPr>
          </a:p>
          <a:p>
            <a:pPr marL="342900" lvl="0" indent="-342900" algn="just">
              <a:spcBef>
                <a:spcPts val="300"/>
              </a:spcBef>
              <a:spcAft>
                <a:spcPts val="300"/>
              </a:spcAft>
              <a:buFont typeface="Wingdings" panose="05000000000000000000" pitchFamily="2" charset="2"/>
              <a:buChar char="v"/>
              <a:defRPr/>
            </a:pPr>
            <a:r>
              <a:rPr lang="en-US" sz="2000" b="1" dirty="0">
                <a:solidFill>
                  <a:srgbClr val="0070C0"/>
                </a:solidFill>
                <a:latin typeface="Times New Roman" panose="02020603050405020304" pitchFamily="18" charset="0"/>
                <a:ea typeface="Calibri" panose="020F0502020204030204" pitchFamily="34" charset="0"/>
              </a:rPr>
              <a:t>CBCNV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luô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a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ế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ứ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í</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u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ể</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ả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ế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ệ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ộ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h</a:t>
            </a:r>
            <a:r>
              <a:rPr lang="en-US" sz="2000" b="1" dirty="0">
                <a:solidFill>
                  <a:srgbClr val="0070C0"/>
                </a:solidFill>
                <a:latin typeface="Times New Roman" panose="02020603050405020304" pitchFamily="18" charset="0"/>
                <a:ea typeface="Calibri" panose="020F0502020204030204" pitchFamily="34" charset="0"/>
              </a:rPr>
              <a:t> </a:t>
            </a:r>
          </a:p>
          <a:p>
            <a:pPr lvl="0" algn="just">
              <a:spcBef>
                <a:spcPts val="300"/>
              </a:spcBef>
              <a:spcAft>
                <a:spcPts val="300"/>
              </a:spcAft>
              <a:defRPr/>
            </a:pP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iệ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ả</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ấ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a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ạ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ự</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ò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ho</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Khá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ng</a:t>
            </a:r>
            <a:endParaRPr lang="en-US" sz="2000" b="1" dirty="0">
              <a:solidFill>
                <a:srgbClr val="0070C0"/>
              </a:solidFill>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559822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p:nvPr/>
        </p:nvGraphicFramePr>
        <p:xfrm>
          <a:off x="38102" y="1176534"/>
          <a:ext cx="5073728" cy="3111528"/>
        </p:xfrm>
        <a:graphic>
          <a:graphicData uri="http://schemas.openxmlformats.org/drawingml/2006/chart">
            <c:chart xmlns:c="http://schemas.openxmlformats.org/drawingml/2006/chart" xmlns:r="http://schemas.openxmlformats.org/officeDocument/2006/relationships" r:id="rId2"/>
          </a:graphicData>
        </a:graphic>
      </p:graphicFrame>
      <p:pic>
        <p:nvPicPr>
          <p:cNvPr id="15" name="Picture 2" descr="D:\backup07102013\o dia D\O D xin\logo EVN.jpg">
            <a:extLst>
              <a:ext uri="{FF2B5EF4-FFF2-40B4-BE49-F238E27FC236}">
                <a16:creationId xmlns:a16="http://schemas.microsoft.com/office/drawing/2014/main" id="{1E73D22E-394D-4C26-BF6A-CF859D9089C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b="-6"/>
          <a:stretch>
            <a:fillRect/>
          </a:stretch>
        </p:blipFill>
        <p:spPr bwMode="auto">
          <a:xfrm>
            <a:off x="0" y="0"/>
            <a:ext cx="986720" cy="10135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a:extLst>
              <a:ext uri="{FF2B5EF4-FFF2-40B4-BE49-F238E27FC236}">
                <a16:creationId xmlns:a16="http://schemas.microsoft.com/office/drawing/2014/main" id="{3B90F1EA-8445-4866-AAA9-84781F76EA13}"/>
              </a:ext>
            </a:extLst>
          </p:cNvPr>
          <p:cNvGrpSpPr/>
          <p:nvPr/>
        </p:nvGrpSpPr>
        <p:grpSpPr>
          <a:xfrm>
            <a:off x="5422633" y="976972"/>
            <a:ext cx="1369407" cy="36576"/>
            <a:chOff x="1775295" y="2020905"/>
            <a:chExt cx="3631535" cy="45719"/>
          </a:xfrm>
        </p:grpSpPr>
        <p:sp>
          <p:nvSpPr>
            <p:cNvPr id="23" name="Rectangle 22">
              <a:extLst>
                <a:ext uri="{FF2B5EF4-FFF2-40B4-BE49-F238E27FC236}">
                  <a16:creationId xmlns:a16="http://schemas.microsoft.com/office/drawing/2014/main" id="{AACA05C7-ABA0-4A6B-B5FB-F1B1D60DE703}"/>
                </a:ext>
              </a:extLst>
            </p:cNvPr>
            <p:cNvSpPr/>
            <p:nvPr/>
          </p:nvSpPr>
          <p:spPr>
            <a:xfrm flipV="1">
              <a:off x="1775295" y="2020905"/>
              <a:ext cx="540354"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8" name="Rectangle 27">
              <a:extLst>
                <a:ext uri="{FF2B5EF4-FFF2-40B4-BE49-F238E27FC236}">
                  <a16:creationId xmlns:a16="http://schemas.microsoft.com/office/drawing/2014/main" id="{57E0B619-6BC8-436F-B474-43293E0CE1BE}"/>
                </a:ext>
              </a:extLst>
            </p:cNvPr>
            <p:cNvSpPr/>
            <p:nvPr/>
          </p:nvSpPr>
          <p:spPr>
            <a:xfrm flipV="1">
              <a:off x="2390858" y="2020905"/>
              <a:ext cx="540354"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1" name="Rectangle 30">
              <a:extLst>
                <a:ext uri="{FF2B5EF4-FFF2-40B4-BE49-F238E27FC236}">
                  <a16:creationId xmlns:a16="http://schemas.microsoft.com/office/drawing/2014/main" id="{22A8E7E0-A849-45B5-8B23-5C1E3D60DE03}"/>
                </a:ext>
              </a:extLst>
            </p:cNvPr>
            <p:cNvSpPr/>
            <p:nvPr/>
          </p:nvSpPr>
          <p:spPr>
            <a:xfrm flipV="1">
              <a:off x="3025595" y="2020905"/>
              <a:ext cx="540354"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2" name="Rectangle 31">
              <a:extLst>
                <a:ext uri="{FF2B5EF4-FFF2-40B4-BE49-F238E27FC236}">
                  <a16:creationId xmlns:a16="http://schemas.microsoft.com/office/drawing/2014/main" id="{5CE826AE-77BC-4284-A0E5-EB6893712315}"/>
                </a:ext>
              </a:extLst>
            </p:cNvPr>
            <p:cNvSpPr/>
            <p:nvPr/>
          </p:nvSpPr>
          <p:spPr>
            <a:xfrm flipV="1">
              <a:off x="3641290" y="2020905"/>
              <a:ext cx="540354" cy="457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3" name="Rectangle 32">
              <a:extLst>
                <a:ext uri="{FF2B5EF4-FFF2-40B4-BE49-F238E27FC236}">
                  <a16:creationId xmlns:a16="http://schemas.microsoft.com/office/drawing/2014/main" id="{B9D3E517-033F-41D1-8DD6-2A99941230C9}"/>
                </a:ext>
              </a:extLst>
            </p:cNvPr>
            <p:cNvSpPr/>
            <p:nvPr/>
          </p:nvSpPr>
          <p:spPr>
            <a:xfrm flipV="1">
              <a:off x="4256852" y="2020905"/>
              <a:ext cx="540354" cy="457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ectangle 33">
              <a:extLst>
                <a:ext uri="{FF2B5EF4-FFF2-40B4-BE49-F238E27FC236}">
                  <a16:creationId xmlns:a16="http://schemas.microsoft.com/office/drawing/2014/main" id="{B851F2F4-0DC2-4B88-BD07-9DE310891C49}"/>
                </a:ext>
              </a:extLst>
            </p:cNvPr>
            <p:cNvSpPr/>
            <p:nvPr/>
          </p:nvSpPr>
          <p:spPr>
            <a:xfrm flipV="1">
              <a:off x="4866476" y="2020905"/>
              <a:ext cx="540354" cy="4571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1899" tIns="60951" rIns="121899" bIns="60951" rtlCol="0" anchor="ctr"/>
            <a:lstStyle/>
            <a:p>
              <a:pPr marL="0" marR="0" lvl="0" indent="0" algn="ctr" defTabSz="91419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5" name="Rectangle 34">
            <a:extLst>
              <a:ext uri="{FF2B5EF4-FFF2-40B4-BE49-F238E27FC236}">
                <a16:creationId xmlns:a16="http://schemas.microsoft.com/office/drawing/2014/main" id="{35358BDE-83F7-4C78-A87B-2285BC2699DC}"/>
              </a:ext>
            </a:extLst>
          </p:cNvPr>
          <p:cNvSpPr/>
          <p:nvPr/>
        </p:nvSpPr>
        <p:spPr>
          <a:xfrm>
            <a:off x="0" y="422974"/>
            <a:ext cx="12191999" cy="55399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uFillTx/>
              </a:defRPr>
            </a:pPr>
            <a:r>
              <a:rPr lang="en-US" sz="3000" b="1" dirty="0">
                <a:solidFill>
                  <a:srgbClr val="164397"/>
                </a:solidFill>
                <a:latin typeface="HelveticaBlackVU" panose="00000900000000000000" pitchFamily="2" charset="0"/>
              </a:rPr>
              <a:t>HỢP TÁC – CHIA SẺ</a:t>
            </a:r>
            <a:endParaRPr kumimoji="0" lang="en-US" sz="3000" b="1" i="0" u="none" strike="noStrike" kern="1200" cap="none" spc="0" normalizeH="0" baseline="0" noProof="0" dirty="0">
              <a:ln>
                <a:noFill/>
              </a:ln>
              <a:solidFill>
                <a:srgbClr val="164397"/>
              </a:solidFill>
              <a:effectLst/>
              <a:uLnTx/>
              <a:uFillTx/>
              <a:latin typeface="HelveticaBlackVU" panose="00000900000000000000" pitchFamily="2" charset="0"/>
              <a:ea typeface="+mn-ea"/>
              <a:cs typeface="+mn-cs"/>
            </a:endParaRPr>
          </a:p>
        </p:txBody>
      </p:sp>
      <p:sp>
        <p:nvSpPr>
          <p:cNvPr id="36" name="Round Same Side Corner Rectangle 12">
            <a:extLst>
              <a:ext uri="{FF2B5EF4-FFF2-40B4-BE49-F238E27FC236}">
                <a16:creationId xmlns:a16="http://schemas.microsoft.com/office/drawing/2014/main" id="{A9766F84-D16D-AFEE-07FD-2ED412CA2459}"/>
              </a:ext>
            </a:extLst>
          </p:cNvPr>
          <p:cNvSpPr/>
          <p:nvPr/>
        </p:nvSpPr>
        <p:spPr>
          <a:xfrm flipH="1" flipV="1">
            <a:off x="2116990" y="925373"/>
            <a:ext cx="250907" cy="284444"/>
          </a:xfrm>
          <a:custGeom>
            <a:avLst/>
            <a:gdLst/>
            <a:ahLst/>
            <a:cxnLst/>
            <a:rect l="l" t="t" r="r" b="b"/>
            <a:pathLst>
              <a:path w="3891831" h="3922089">
                <a:moveTo>
                  <a:pt x="1662674" y="3168351"/>
                </a:moveTo>
                <a:lnTo>
                  <a:pt x="1502829" y="3373344"/>
                </a:lnTo>
                <a:lnTo>
                  <a:pt x="2417229" y="3373344"/>
                </a:lnTo>
                <a:lnTo>
                  <a:pt x="2257384" y="3168351"/>
                </a:lnTo>
                <a:close/>
                <a:moveTo>
                  <a:pt x="2523259" y="1171504"/>
                </a:moveTo>
                <a:cubicBezTo>
                  <a:pt x="2532472" y="1171504"/>
                  <a:pt x="2541686" y="1175018"/>
                  <a:pt x="2548715" y="1182047"/>
                </a:cubicBezTo>
                <a:cubicBezTo>
                  <a:pt x="2562774" y="1196106"/>
                  <a:pt x="2562774" y="1218900"/>
                  <a:pt x="2548715" y="1232959"/>
                </a:cubicBezTo>
                <a:lnTo>
                  <a:pt x="2192302" y="1589372"/>
                </a:lnTo>
                <a:cubicBezTo>
                  <a:pt x="2215318" y="1634545"/>
                  <a:pt x="2208007" y="1691005"/>
                  <a:pt x="2170778" y="1729629"/>
                </a:cubicBezTo>
                <a:lnTo>
                  <a:pt x="1842194" y="2070527"/>
                </a:lnTo>
                <a:lnTo>
                  <a:pt x="1840602" y="2068993"/>
                </a:lnTo>
                <a:lnTo>
                  <a:pt x="1839683" y="2070526"/>
                </a:lnTo>
                <a:lnTo>
                  <a:pt x="1772706" y="2003549"/>
                </a:lnTo>
                <a:lnTo>
                  <a:pt x="1671997" y="1906478"/>
                </a:lnTo>
                <a:lnTo>
                  <a:pt x="1671997" y="2304256"/>
                </a:lnTo>
                <a:lnTo>
                  <a:pt x="519869" y="2304256"/>
                </a:lnTo>
                <a:lnTo>
                  <a:pt x="519869" y="1555463"/>
                </a:lnTo>
                <a:cubicBezTo>
                  <a:pt x="519869" y="1430811"/>
                  <a:pt x="620920" y="1329760"/>
                  <a:pt x="745572" y="1329760"/>
                </a:cubicBezTo>
                <a:lnTo>
                  <a:pt x="887110" y="1329760"/>
                </a:lnTo>
                <a:lnTo>
                  <a:pt x="1095933" y="1689800"/>
                </a:lnTo>
                <a:lnTo>
                  <a:pt x="1304756" y="1329760"/>
                </a:lnTo>
                <a:lnTo>
                  <a:pt x="1446294" y="1329760"/>
                </a:lnTo>
                <a:cubicBezTo>
                  <a:pt x="1483655" y="1329760"/>
                  <a:pt x="1518895" y="1338838"/>
                  <a:pt x="1549463" y="1355810"/>
                </a:cubicBezTo>
                <a:lnTo>
                  <a:pt x="1551429" y="1352534"/>
                </a:lnTo>
                <a:lnTo>
                  <a:pt x="1560928" y="1362033"/>
                </a:lnTo>
                <a:cubicBezTo>
                  <a:pt x="1593912" y="1380586"/>
                  <a:pt x="1621171" y="1407846"/>
                  <a:pt x="1639724" y="1440829"/>
                </a:cubicBezTo>
                <a:lnTo>
                  <a:pt x="1875719" y="1676823"/>
                </a:lnTo>
                <a:lnTo>
                  <a:pt x="1991438" y="1556767"/>
                </a:lnTo>
                <a:cubicBezTo>
                  <a:pt x="2032038" y="1514646"/>
                  <a:pt x="2095142" y="1507302"/>
                  <a:pt x="2142374" y="1537477"/>
                </a:cubicBezTo>
                <a:lnTo>
                  <a:pt x="2497803" y="1182047"/>
                </a:lnTo>
                <a:cubicBezTo>
                  <a:pt x="2504833" y="1175018"/>
                  <a:pt x="2514046" y="1171504"/>
                  <a:pt x="2523259" y="1171504"/>
                </a:cubicBezTo>
                <a:close/>
                <a:moveTo>
                  <a:pt x="3270424" y="602451"/>
                </a:moveTo>
                <a:cubicBezTo>
                  <a:pt x="3365959" y="700507"/>
                  <a:pt x="3424268" y="834597"/>
                  <a:pt x="3424268" y="982306"/>
                </a:cubicBezTo>
                <a:lnTo>
                  <a:pt x="2890568" y="982307"/>
                </a:lnTo>
                <a:close/>
                <a:moveTo>
                  <a:pt x="1095932" y="477151"/>
                </a:moveTo>
                <a:cubicBezTo>
                  <a:pt x="1287178" y="477151"/>
                  <a:pt x="1442214" y="632187"/>
                  <a:pt x="1442214" y="823433"/>
                </a:cubicBezTo>
                <a:cubicBezTo>
                  <a:pt x="1442214" y="1014679"/>
                  <a:pt x="1287178" y="1169715"/>
                  <a:pt x="1095932" y="1169715"/>
                </a:cubicBezTo>
                <a:cubicBezTo>
                  <a:pt x="904686" y="1169715"/>
                  <a:pt x="749650" y="1014679"/>
                  <a:pt x="749650" y="823433"/>
                </a:cubicBezTo>
                <a:cubicBezTo>
                  <a:pt x="749650" y="632187"/>
                  <a:pt x="904686" y="477151"/>
                  <a:pt x="1095932" y="477151"/>
                </a:cubicBezTo>
                <a:close/>
                <a:moveTo>
                  <a:pt x="2797293" y="477150"/>
                </a:moveTo>
                <a:cubicBezTo>
                  <a:pt x="2797293" y="660228"/>
                  <a:pt x="2797294" y="843306"/>
                  <a:pt x="2797294" y="1026384"/>
                </a:cubicBezTo>
                <a:lnTo>
                  <a:pt x="3346527" y="1026384"/>
                </a:lnTo>
                <a:cubicBezTo>
                  <a:pt x="3346527" y="1329718"/>
                  <a:pt x="3100627" y="1575618"/>
                  <a:pt x="2797293" y="1575618"/>
                </a:cubicBezTo>
                <a:cubicBezTo>
                  <a:pt x="2647814" y="1575618"/>
                  <a:pt x="2512282" y="1515904"/>
                  <a:pt x="2413635" y="1418636"/>
                </a:cubicBezTo>
                <a:lnTo>
                  <a:pt x="2585415" y="1246856"/>
                </a:lnTo>
                <a:cubicBezTo>
                  <a:pt x="2612360" y="1219912"/>
                  <a:pt x="2612360" y="1176226"/>
                  <a:pt x="2585415" y="1149281"/>
                </a:cubicBezTo>
                <a:cubicBezTo>
                  <a:pt x="2558471" y="1122337"/>
                  <a:pt x="2514785" y="1122337"/>
                  <a:pt x="2487840" y="1149281"/>
                </a:cubicBezTo>
                <a:lnTo>
                  <a:pt x="2328419" y="1308703"/>
                </a:lnTo>
                <a:cubicBezTo>
                  <a:pt x="2276781" y="1227012"/>
                  <a:pt x="2248059" y="1130052"/>
                  <a:pt x="2248059" y="1026384"/>
                </a:cubicBezTo>
                <a:cubicBezTo>
                  <a:pt x="2248059" y="723050"/>
                  <a:pt x="2493959" y="477150"/>
                  <a:pt x="2797293" y="477150"/>
                </a:cubicBezTo>
                <a:close/>
                <a:moveTo>
                  <a:pt x="2842770" y="361048"/>
                </a:moveTo>
                <a:cubicBezTo>
                  <a:pt x="2979660" y="362831"/>
                  <a:pt x="3115706" y="416416"/>
                  <a:pt x="3220152" y="520862"/>
                </a:cubicBezTo>
                <a:lnTo>
                  <a:pt x="2842770" y="898246"/>
                </a:lnTo>
                <a:close/>
                <a:moveTo>
                  <a:pt x="745283" y="252264"/>
                </a:moveTo>
                <a:cubicBezTo>
                  <a:pt x="540043" y="252264"/>
                  <a:pt x="373664" y="418643"/>
                  <a:pt x="373664" y="623883"/>
                </a:cubicBezTo>
                <a:lnTo>
                  <a:pt x="373664" y="2481932"/>
                </a:lnTo>
                <a:lnTo>
                  <a:pt x="3505664" y="2481932"/>
                </a:lnTo>
                <a:lnTo>
                  <a:pt x="3505664" y="623883"/>
                </a:lnTo>
                <a:cubicBezTo>
                  <a:pt x="3505664" y="418643"/>
                  <a:pt x="3339285" y="252264"/>
                  <a:pt x="3134045" y="252264"/>
                </a:cubicBezTo>
                <a:close/>
                <a:moveTo>
                  <a:pt x="561239" y="0"/>
                </a:moveTo>
                <a:lnTo>
                  <a:pt x="3333911" y="0"/>
                </a:lnTo>
                <a:cubicBezTo>
                  <a:pt x="3562371" y="0"/>
                  <a:pt x="3747575" y="185204"/>
                  <a:pt x="3747575" y="413664"/>
                </a:cubicBezTo>
                <a:lnTo>
                  <a:pt x="3747575" y="2481932"/>
                </a:lnTo>
                <a:lnTo>
                  <a:pt x="3751166" y="2481932"/>
                </a:lnTo>
                <a:lnTo>
                  <a:pt x="3891831" y="3528390"/>
                </a:lnTo>
                <a:lnTo>
                  <a:pt x="3891831" y="3528390"/>
                </a:lnTo>
                <a:lnTo>
                  <a:pt x="3891831" y="3528392"/>
                </a:lnTo>
                <a:lnTo>
                  <a:pt x="3891831" y="3725239"/>
                </a:lnTo>
                <a:cubicBezTo>
                  <a:pt x="3891831" y="3833956"/>
                  <a:pt x="3803698" y="3922089"/>
                  <a:pt x="3694981" y="3922089"/>
                </a:cubicBezTo>
                <a:lnTo>
                  <a:pt x="196850" y="3922089"/>
                </a:lnTo>
                <a:cubicBezTo>
                  <a:pt x="88133" y="3922089"/>
                  <a:pt x="0" y="3833956"/>
                  <a:pt x="0" y="3725239"/>
                </a:cubicBezTo>
                <a:cubicBezTo>
                  <a:pt x="0" y="3659623"/>
                  <a:pt x="1" y="3594006"/>
                  <a:pt x="1" y="3528390"/>
                </a:cubicBezTo>
                <a:lnTo>
                  <a:pt x="3399" y="3528390"/>
                </a:lnTo>
                <a:lnTo>
                  <a:pt x="144064" y="2481932"/>
                </a:lnTo>
                <a:lnTo>
                  <a:pt x="147575" y="2481932"/>
                </a:lnTo>
                <a:lnTo>
                  <a:pt x="147575" y="413664"/>
                </a:lnTo>
                <a:cubicBezTo>
                  <a:pt x="147575" y="185204"/>
                  <a:pt x="332779" y="0"/>
                  <a:pt x="5612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200" b="0" i="0" u="none" strike="noStrike" kern="1200" cap="none" spc="0" normalizeH="0" baseline="0" noProof="0">
              <a:ln>
                <a:noFill/>
              </a:ln>
              <a:solidFill>
                <a:prstClr val="white"/>
              </a:solidFill>
              <a:effectLst/>
              <a:uLnTx/>
              <a:uFillTx/>
              <a:latin typeface="Calibri Light"/>
              <a:ea typeface="맑은 고딕" panose="020B0503020000020004" pitchFamily="34" charset="-127"/>
              <a:cs typeface="+mn-cs"/>
            </a:endParaRPr>
          </a:p>
        </p:txBody>
      </p:sp>
      <p:sp>
        <p:nvSpPr>
          <p:cNvPr id="37" name="TextBox 36">
            <a:extLst>
              <a:ext uri="{FF2B5EF4-FFF2-40B4-BE49-F238E27FC236}">
                <a16:creationId xmlns:a16="http://schemas.microsoft.com/office/drawing/2014/main" id="{7B948166-1D35-404D-8B93-E8055D79B2AD}"/>
              </a:ext>
            </a:extLst>
          </p:cNvPr>
          <p:cNvSpPr txBox="1"/>
          <p:nvPr/>
        </p:nvSpPr>
        <p:spPr>
          <a:xfrm>
            <a:off x="4446785" y="1214256"/>
            <a:ext cx="7148944" cy="2246769"/>
          </a:xfrm>
          <a:prstGeom prst="rect">
            <a:avLst/>
          </a:prstGeom>
          <a:noFill/>
        </p:spPr>
        <p:txBody>
          <a:bodyPr wrap="square" rtlCol="0" anchor="t">
            <a:spAutoFit/>
          </a:bodyPr>
          <a:lstStyle/>
          <a:p>
            <a:pPr marL="342900" lvl="0" indent="-342900" algn="just">
              <a:spcBef>
                <a:spcPts val="1200"/>
              </a:spcBef>
              <a:spcAft>
                <a:spcPts val="1200"/>
              </a:spcAft>
              <a:buFont typeface="Wingdings" panose="05000000000000000000" pitchFamily="2" charset="2"/>
              <a:buChar char="v"/>
              <a:defRPr/>
            </a:pPr>
            <a:r>
              <a:rPr lang="en-US" sz="2000" b="1" dirty="0">
                <a:solidFill>
                  <a:srgbClr val="FF0000"/>
                </a:solidFill>
                <a:latin typeface="Times New Roman" panose="02020603050405020304" pitchFamily="18" charset="0"/>
                <a:ea typeface="Calibri" panose="020F0502020204030204" pitchFamily="34" charset="0"/>
              </a:rPr>
              <a:t>EVN </a:t>
            </a:r>
            <a:r>
              <a:rPr lang="en-US" sz="2000" b="1" dirty="0" err="1">
                <a:solidFill>
                  <a:srgbClr val="FF0000"/>
                </a:solidFill>
                <a:latin typeface="Times New Roman" panose="02020603050405020304" pitchFamily="18" charset="0"/>
                <a:ea typeface="Calibri" panose="020F0502020204030204" pitchFamily="34" charset="0"/>
              </a:rPr>
              <a:t>coi</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trọng</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sự</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hợp</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tác</a:t>
            </a:r>
            <a:r>
              <a:rPr lang="en-US" sz="2000" b="1" dirty="0">
                <a:solidFill>
                  <a:srgbClr val="FF0000"/>
                </a:solidFill>
                <a:latin typeface="Times New Roman" panose="02020603050405020304" pitchFamily="18" charset="0"/>
                <a:ea typeface="Calibri" panose="020F0502020204030204" pitchFamily="34" charset="0"/>
              </a:rPr>
              <a:t> </a:t>
            </a:r>
            <a:r>
              <a:rPr lang="en-US" sz="2000" b="1" dirty="0" err="1">
                <a:solidFill>
                  <a:srgbClr val="FF0000"/>
                </a:solidFill>
                <a:latin typeface="Times New Roman" panose="02020603050405020304" pitchFamily="18" charset="0"/>
                <a:ea typeface="Calibri" panose="020F0502020204030204" pitchFamily="34" charset="0"/>
              </a:rPr>
              <a:t>và</a:t>
            </a:r>
            <a:r>
              <a:rPr lang="en-US" sz="2000" b="1" dirty="0">
                <a:solidFill>
                  <a:srgbClr val="FF0000"/>
                </a:solidFill>
                <a:latin typeface="Times New Roman" panose="02020603050405020304" pitchFamily="18" charset="0"/>
                <a:ea typeface="Calibri" panose="020F0502020204030204" pitchFamily="34" charset="0"/>
              </a:rPr>
              <a:t> chia </a:t>
            </a:r>
            <a:r>
              <a:rPr lang="en-US" sz="2000" b="1" dirty="0" err="1">
                <a:solidFill>
                  <a:srgbClr val="FF0000"/>
                </a:solidFill>
                <a:latin typeface="Times New Roman" panose="02020603050405020304" pitchFamily="18" charset="0"/>
                <a:ea typeface="Calibri" panose="020F0502020204030204" pitchFamily="34" charset="0"/>
              </a:rPr>
              <a:t>sẻ</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ô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ữ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á</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ị</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íc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ớ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o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uốn</a:t>
            </a:r>
            <a:r>
              <a:rPr lang="en-US" sz="2000" b="1" dirty="0">
                <a:solidFill>
                  <a:srgbClr val="0070C0"/>
                </a:solidFill>
                <a:latin typeface="Times New Roman" panose="02020603050405020304" pitchFamily="18" charset="0"/>
                <a:ea typeface="Calibri" panose="020F0502020204030204" pitchFamily="34" charset="0"/>
              </a:rPr>
              <a:t> CBCNV EVN </a:t>
            </a:r>
            <a:r>
              <a:rPr lang="en-US" sz="2000" b="1" dirty="0" err="1">
                <a:solidFill>
                  <a:srgbClr val="0070C0"/>
                </a:solidFill>
                <a:latin typeface="Times New Roman" panose="02020603050405020304" pitchFamily="18" charset="0"/>
                <a:ea typeface="Calibri" panose="020F0502020204030204" pitchFamily="34" charset="0"/>
              </a:rPr>
              <a:t>sẽ</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luô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ợp</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ê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i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ầ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u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ự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ằ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ẵ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àng</a:t>
            </a:r>
            <a:r>
              <a:rPr lang="en-US" sz="2000" b="1" dirty="0">
                <a:solidFill>
                  <a:srgbClr val="0070C0"/>
                </a:solidFill>
                <a:latin typeface="Times New Roman" panose="02020603050405020304" pitchFamily="18" charset="0"/>
                <a:ea typeface="Calibri" panose="020F0502020204030204" pitchFamily="34" charset="0"/>
              </a:rPr>
              <a:t> chia </a:t>
            </a:r>
            <a:r>
              <a:rPr lang="en-US" sz="2000" b="1" dirty="0" err="1">
                <a:solidFill>
                  <a:srgbClr val="0070C0"/>
                </a:solidFill>
                <a:latin typeface="Times New Roman" panose="02020603050405020304" pitchFamily="18" charset="0"/>
                <a:ea typeface="Calibri" panose="020F0502020204030204" pitchFamily="34" charset="0"/>
              </a:rPr>
              <a:t>sẻ</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ắ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ó</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giả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quyế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ượ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ọ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ấ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ề</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ệ</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ố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a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phát</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riể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ề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ữ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ù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nhau</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ộ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ì</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sự</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ông</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iến</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bộ</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mỗ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hành</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viên</a:t>
            </a:r>
            <a:r>
              <a:rPr lang="en-US" sz="2000" b="1" dirty="0">
                <a:solidFill>
                  <a:srgbClr val="0070C0"/>
                </a:solidFill>
                <a:latin typeface="Times New Roman" panose="02020603050405020304" pitchFamily="18" charset="0"/>
                <a:ea typeface="Calibri" panose="020F0502020204030204" pitchFamily="34" charset="0"/>
              </a:rPr>
              <a:t> EVN </a:t>
            </a:r>
            <a:r>
              <a:rPr lang="en-US" sz="2000" b="1" dirty="0" err="1">
                <a:solidFill>
                  <a:srgbClr val="0070C0"/>
                </a:solidFill>
                <a:latin typeface="Times New Roman" panose="02020603050405020304" pitchFamily="18" charset="0"/>
                <a:ea typeface="Calibri" panose="020F0502020204030204" pitchFamily="34" charset="0"/>
              </a:rPr>
              <a:t>và</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đối</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tác</a:t>
            </a:r>
            <a:r>
              <a:rPr lang="en-US" sz="2000" b="1" dirty="0">
                <a:solidFill>
                  <a:srgbClr val="0070C0"/>
                </a:solidFill>
                <a:latin typeface="Times New Roman" panose="02020603050405020304" pitchFamily="18" charset="0"/>
                <a:ea typeface="Calibri" panose="020F0502020204030204" pitchFamily="34" charset="0"/>
              </a:rPr>
              <a:t> </a:t>
            </a:r>
            <a:r>
              <a:rPr lang="en-US" sz="2000" b="1" dirty="0" err="1">
                <a:solidFill>
                  <a:srgbClr val="0070C0"/>
                </a:solidFill>
                <a:latin typeface="Times New Roman" panose="02020603050405020304" pitchFamily="18" charset="0"/>
                <a:ea typeface="Calibri" panose="020F0502020204030204" pitchFamily="34" charset="0"/>
              </a:rPr>
              <a:t>của</a:t>
            </a:r>
            <a:r>
              <a:rPr lang="en-US" sz="2000" b="1" dirty="0">
                <a:solidFill>
                  <a:srgbClr val="0070C0"/>
                </a:solidFill>
                <a:latin typeface="Times New Roman" panose="02020603050405020304" pitchFamily="18" charset="0"/>
                <a:ea typeface="Calibri" panose="020F0502020204030204" pitchFamily="34" charset="0"/>
              </a:rPr>
              <a:t> EVN.</a:t>
            </a:r>
          </a:p>
        </p:txBody>
      </p:sp>
      <p:pic>
        <p:nvPicPr>
          <p:cNvPr id="38" name="Picture 37"/>
          <p:cNvPicPr>
            <a:picLocks noChangeAspect="1"/>
          </p:cNvPicPr>
          <p:nvPr/>
        </p:nvPicPr>
        <p:blipFill rotWithShape="1">
          <a:blip r:embed="rId4" cstate="screen">
            <a:extLst>
              <a:ext uri="{28A0092B-C50C-407E-A947-70E740481C1C}">
                <a14:useLocalDpi xmlns:a14="http://schemas.microsoft.com/office/drawing/2010/main"/>
              </a:ext>
            </a:extLst>
          </a:blip>
          <a:srcRect r="9330"/>
          <a:stretch/>
        </p:blipFill>
        <p:spPr>
          <a:xfrm>
            <a:off x="623033" y="1305080"/>
            <a:ext cx="3716211" cy="2854436"/>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9" name="Rectangle 38"/>
          <p:cNvSpPr/>
          <p:nvPr/>
        </p:nvSpPr>
        <p:spPr>
          <a:xfrm>
            <a:off x="4446785" y="3661734"/>
            <a:ext cx="7066342" cy="646331"/>
          </a:xfrm>
          <a:prstGeom prst="rect">
            <a:avLst/>
          </a:prstGeom>
        </p:spPr>
        <p:txBody>
          <a:bodyPr wrap="square">
            <a:spAutoFit/>
          </a:bodyPr>
          <a:lstStyle/>
          <a:p>
            <a:pPr marL="342900" lvl="0" indent="-342900" algn="just">
              <a:spcBef>
                <a:spcPts val="1200"/>
              </a:spcBef>
              <a:spcAft>
                <a:spcPts val="1200"/>
              </a:spcAft>
              <a:buFont typeface="Wingdings" panose="05000000000000000000" pitchFamily="2" charset="2"/>
              <a:buChar char="v"/>
              <a:defRPr/>
            </a:pPr>
            <a:r>
              <a:rPr lang="en-US" b="1" dirty="0" err="1">
                <a:solidFill>
                  <a:srgbClr val="FF0000"/>
                </a:solidFill>
                <a:latin typeface="Times New Roman" panose="02020603050405020304" pitchFamily="18" charset="0"/>
                <a:ea typeface="Calibri" panose="020F0502020204030204" pitchFamily="34" charset="0"/>
              </a:rPr>
              <a:t>Đoàn</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kết</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hợp</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tác</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và</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lao</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động</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sáng</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tạo</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à</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guồ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sứ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mạnh</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ổ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hợp</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ủa</a:t>
            </a:r>
            <a:r>
              <a:rPr lang="en-US" b="1" dirty="0">
                <a:solidFill>
                  <a:srgbClr val="0070C0"/>
                </a:solidFill>
                <a:latin typeface="Times New Roman" panose="02020603050405020304" pitchFamily="18" charset="0"/>
                <a:ea typeface="Calibri" panose="020F0502020204030204" pitchFamily="34" charset="0"/>
              </a:rPr>
              <a:t> EVN </a:t>
            </a:r>
            <a:r>
              <a:rPr lang="en-US" b="1" dirty="0" err="1">
                <a:solidFill>
                  <a:srgbClr val="0070C0"/>
                </a:solidFill>
                <a:latin typeface="Times New Roman" panose="02020603050405020304" pitchFamily="18" charset="0"/>
                <a:ea typeface="Calibri" panose="020F0502020204030204" pitchFamily="34" charset="0"/>
              </a:rPr>
              <a:t>để</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ạ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ượ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hữ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mụ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iêu</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ề</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ra</a:t>
            </a:r>
            <a:endParaRPr lang="en-US" b="1" dirty="0">
              <a:solidFill>
                <a:srgbClr val="0070C0"/>
              </a:solidFill>
              <a:latin typeface="Times New Roman" panose="02020603050405020304" pitchFamily="18" charset="0"/>
              <a:ea typeface="Calibri" panose="020F0502020204030204" pitchFamily="34" charset="0"/>
            </a:endParaRPr>
          </a:p>
        </p:txBody>
      </p:sp>
      <p:sp>
        <p:nvSpPr>
          <p:cNvPr id="40" name="Rectangle 39"/>
          <p:cNvSpPr/>
          <p:nvPr/>
        </p:nvSpPr>
        <p:spPr>
          <a:xfrm>
            <a:off x="493359" y="4643827"/>
            <a:ext cx="11019767" cy="923330"/>
          </a:xfrm>
          <a:prstGeom prst="rect">
            <a:avLst/>
          </a:prstGeom>
        </p:spPr>
        <p:txBody>
          <a:bodyPr wrap="square">
            <a:spAutoFit/>
          </a:bodyPr>
          <a:lstStyle/>
          <a:p>
            <a:pPr marL="342900" lvl="0" indent="-342900" algn="just">
              <a:spcBef>
                <a:spcPts val="1200"/>
              </a:spcBef>
              <a:spcAft>
                <a:spcPts val="1200"/>
              </a:spcAft>
              <a:buFont typeface="Wingdings" panose="05000000000000000000" pitchFamily="2" charset="2"/>
              <a:buChar char="v"/>
              <a:defRPr/>
            </a:pPr>
            <a:r>
              <a:rPr lang="en-US" b="1" dirty="0" err="1">
                <a:solidFill>
                  <a:srgbClr val="FF0000"/>
                </a:solidFill>
                <a:latin typeface="Times New Roman" panose="02020603050405020304" pitchFamily="18" charset="0"/>
                <a:ea typeface="Calibri" panose="020F0502020204030204" pitchFamily="34" charset="0"/>
              </a:rPr>
              <a:t>Duy</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trì</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sự</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hài</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hòa</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giữa</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công</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việc</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và</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Gia</a:t>
            </a:r>
            <a:r>
              <a:rPr lang="en-US" b="1" dirty="0">
                <a:solidFill>
                  <a:srgbClr val="FF0000"/>
                </a:solidFill>
                <a:latin typeface="Times New Roman" panose="02020603050405020304" pitchFamily="18" charset="0"/>
                <a:ea typeface="Calibri" panose="020F0502020204030204" pitchFamily="34" charset="0"/>
              </a:rPr>
              <a:t> </a:t>
            </a:r>
            <a:r>
              <a:rPr lang="en-US" b="1" dirty="0" err="1">
                <a:solidFill>
                  <a:srgbClr val="FF0000"/>
                </a:solidFill>
                <a:latin typeface="Times New Roman" panose="02020603050405020304" pitchFamily="18" charset="0"/>
                <a:ea typeface="Calibri" panose="020F0502020204030204" pitchFamily="34" charset="0"/>
              </a:rPr>
              <a:t>đình</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ảo</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ảm</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sự</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â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ằ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giữa</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á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mố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qua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hệ</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ạ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ơ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àm</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iệ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â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ằ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uộ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số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à</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cô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iệc</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Khuyế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khích</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và</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ạo</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iều</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kiệ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ố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hấ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ể</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gười</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lao</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độ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khô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ngừng</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phát</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riể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bản</a:t>
            </a:r>
            <a:r>
              <a:rPr lang="en-US" b="1" dirty="0">
                <a:solidFill>
                  <a:srgbClr val="0070C0"/>
                </a:solidFill>
                <a:latin typeface="Times New Roman" panose="02020603050405020304" pitchFamily="18" charset="0"/>
                <a:ea typeface="Calibri" panose="020F0502020204030204" pitchFamily="34" charset="0"/>
              </a:rPr>
              <a:t> </a:t>
            </a:r>
            <a:r>
              <a:rPr lang="en-US" b="1" dirty="0" err="1">
                <a:solidFill>
                  <a:srgbClr val="0070C0"/>
                </a:solidFill>
                <a:latin typeface="Times New Roman" panose="02020603050405020304" pitchFamily="18" charset="0"/>
                <a:ea typeface="Calibri" panose="020F0502020204030204" pitchFamily="34" charset="0"/>
              </a:rPr>
              <a:t>thân</a:t>
            </a:r>
            <a:r>
              <a:rPr lang="en-US" b="1" dirty="0">
                <a:solidFill>
                  <a:srgbClr val="0070C0"/>
                </a:solidFill>
                <a:latin typeface="Times New Roman" panose="02020603050405020304" pitchFamily="18" charset="0"/>
                <a:ea typeface="Calibri" panose="020F0502020204030204" pitchFamily="34" charset="0"/>
              </a:rPr>
              <a:t>.</a:t>
            </a:r>
          </a:p>
        </p:txBody>
      </p:sp>
    </p:spTree>
    <p:extLst>
      <p:ext uri="{BB962C8B-B14F-4D97-AF65-F5344CB8AC3E}">
        <p14:creationId xmlns:p14="http://schemas.microsoft.com/office/powerpoint/2010/main" val="8738561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eiffel-tower_POWER_USER_SEPARATOR_ICONS_architecture_POWER_USER_SEPARATOR_ICONS_france_POWER_USER_SEPARATOR_ICONS_landmark_POWER_USER_SEPARATOR_ICONS_paris_POWER_USER_SEPARATOR_ICONS_steel_POWER_USER_SEPARATOR_ICONS_tourism_POWER_USER_SEPARATOR_ICONS_tower"/>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rain_POWER_USER_SEPARATOR_ICONS_doctor_POWER_USER_SEPARATOR_ICONS_health_POWER_USER_SEPARATOR_ICONS_hospit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ig-ben_POWER_USER_SEPARATOR_ICONS_british_POWER_USER_SEPARATOR_ICONS_clock_POWER_USER_SEPARATOR_ICONS_england_POWER_USER_SEPARATOR_ICONS_london_POWER_USER_SEPARATOR_ICONS_monument"/>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ar"/>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209">
      <a:dk1>
        <a:sysClr val="windowText" lastClr="000000"/>
      </a:dk1>
      <a:lt1>
        <a:sysClr val="window" lastClr="FFFFFF"/>
      </a:lt1>
      <a:dk2>
        <a:srgbClr val="1F497D"/>
      </a:dk2>
      <a:lt2>
        <a:srgbClr val="EEECE1"/>
      </a:lt2>
      <a:accent1>
        <a:srgbClr val="E62949"/>
      </a:accent1>
      <a:accent2>
        <a:srgbClr val="F07624"/>
      </a:accent2>
      <a:accent3>
        <a:srgbClr val="F4BD2D"/>
      </a:accent3>
      <a:accent4>
        <a:srgbClr val="1ED4DE"/>
      </a:accent4>
      <a:accent5>
        <a:srgbClr val="1C7DE1"/>
      </a:accent5>
      <a:accent6>
        <a:srgbClr val="CBCBCB"/>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s Slide Master">
  <a:themeElements>
    <a:clrScheme name="ALLPPT-413">
      <a:dk1>
        <a:sysClr val="windowText" lastClr="000000"/>
      </a:dk1>
      <a:lt1>
        <a:sysClr val="window" lastClr="FFFFFF"/>
      </a:lt1>
      <a:dk2>
        <a:srgbClr val="1F497D"/>
      </a:dk2>
      <a:lt2>
        <a:srgbClr val="EEECE1"/>
      </a:lt2>
      <a:accent1>
        <a:srgbClr val="EDB300"/>
      </a:accent1>
      <a:accent2>
        <a:srgbClr val="BEA00E"/>
      </a:accent2>
      <a:accent3>
        <a:srgbClr val="84CADF"/>
      </a:accent3>
      <a:accent4>
        <a:srgbClr val="206481"/>
      </a:accent4>
      <a:accent5>
        <a:srgbClr val="0F3240"/>
      </a:accent5>
      <a:accent6>
        <a:srgbClr val="5F5006"/>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30</TotalTime>
  <Words>4792</Words>
  <Application>Microsoft Office PowerPoint</Application>
  <PresentationFormat>Widescreen</PresentationFormat>
  <Paragraphs>262</Paragraphs>
  <Slides>26</Slides>
  <Notes>12</Notes>
  <HiddenSlides>0</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26</vt:i4>
      </vt:variant>
    </vt:vector>
  </HeadingPairs>
  <TitlesOfParts>
    <vt:vector size="41" baseType="lpstr">
      <vt:lpstr>Arial</vt:lpstr>
      <vt:lpstr>Calibri</vt:lpstr>
      <vt:lpstr>Calibri Light</vt:lpstr>
      <vt:lpstr>Edwardian Script ITC</vt:lpstr>
      <vt:lpstr>Helvetica</vt:lpstr>
      <vt:lpstr>HelveticaBlackVU</vt:lpstr>
      <vt:lpstr>Open Sans</vt:lpstr>
      <vt:lpstr>Segoe UI</vt:lpstr>
      <vt:lpstr>Times New Roman</vt:lpstr>
      <vt:lpstr>Wingdings</vt:lpstr>
      <vt:lpstr>Office Theme</vt:lpstr>
      <vt:lpstr>Contents Slide Master</vt:lpstr>
      <vt:lpstr>1_Contents Slide Master</vt:lpstr>
      <vt:lpstr>Template PresentationGo</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Vĩnh Toàn (CPC-KH.CV)</dc:creator>
  <cp:lastModifiedBy>Nguyen Hoai Nam - Ban TCNS - EVNNPC</cp:lastModifiedBy>
  <cp:revision>184</cp:revision>
  <cp:lastPrinted>2023-11-20T03:48:36Z</cp:lastPrinted>
  <dcterms:created xsi:type="dcterms:W3CDTF">2022-03-16T00:39:31Z</dcterms:created>
  <dcterms:modified xsi:type="dcterms:W3CDTF">2024-03-05T08:34:08Z</dcterms:modified>
</cp:coreProperties>
</file>